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1"/>
    <p:sldMasterId id="2147483747" r:id="rId2"/>
    <p:sldMasterId id="2147483762" r:id="rId3"/>
    <p:sldMasterId id="2147483779" r:id="rId4"/>
  </p:sldMasterIdLst>
  <p:notesMasterIdLst>
    <p:notesMasterId r:id="rId17"/>
  </p:notesMasterIdLst>
  <p:handoutMasterIdLst>
    <p:handoutMasterId r:id="rId18"/>
  </p:handoutMasterIdLst>
  <p:sldIdLst>
    <p:sldId id="592" r:id="rId5"/>
    <p:sldId id="595" r:id="rId6"/>
    <p:sldId id="596" r:id="rId7"/>
    <p:sldId id="681" r:id="rId8"/>
    <p:sldId id="677" r:id="rId9"/>
    <p:sldId id="682" r:id="rId10"/>
    <p:sldId id="678" r:id="rId11"/>
    <p:sldId id="679" r:id="rId12"/>
    <p:sldId id="680" r:id="rId13"/>
    <p:sldId id="683" r:id="rId14"/>
    <p:sldId id="612" r:id="rId15"/>
    <p:sldId id="594" r:id="rId16"/>
  </p:sldIdLst>
  <p:sldSz cx="9144000" cy="6858000" type="screen4x3"/>
  <p:notesSz cx="7010400" cy="9296400"/>
  <p:custDataLst>
    <p:tags r:id="rId1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760" userDrawn="1">
          <p15:clr>
            <a:srgbClr val="A4A3A4"/>
          </p15:clr>
        </p15:guide>
        <p15:guide id="3" orient="horz" pos="42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2680"/>
    <a:srgbClr val="043A92"/>
    <a:srgbClr val="860021"/>
    <a:srgbClr val="022F8A"/>
    <a:srgbClr val="06419B"/>
    <a:srgbClr val="A7E8FF"/>
    <a:srgbClr val="D72C26"/>
    <a:srgbClr val="44546A"/>
    <a:srgbClr val="ABB8C9"/>
    <a:srgbClr val="DCB4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55" autoAdjust="0"/>
    <p:restoredTop sz="95401" autoAdjust="0"/>
  </p:normalViewPr>
  <p:slideViewPr>
    <p:cSldViewPr snapToGrid="0" showGuides="1">
      <p:cViewPr>
        <p:scale>
          <a:sx n="98" d="100"/>
          <a:sy n="98" d="100"/>
        </p:scale>
        <p:origin x="492" y="-768"/>
      </p:cViewPr>
      <p:guideLst>
        <p:guide pos="5760"/>
        <p:guide orient="horz" pos="426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1914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9C0D96-8F16-49EF-857A-22AB0845EF00}" type="datetimeFigureOut">
              <a:rPr lang="de-DE" smtClean="0"/>
              <a:t>25.11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64CB21-FC84-4248-8CD0-9051410F872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9349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F5ED81-28C3-4BF9-B7CA-7F948CA1A135}" type="datetimeFigureOut">
              <a:rPr lang="en-GB" smtClean="0"/>
              <a:t>25/11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75" y="1162050"/>
            <a:ext cx="4184650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73892"/>
            <a:ext cx="5608320" cy="366045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CCD81E-EB09-4E6B-832B-0103780B5C2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812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svg"/><Relationship Id="rId5" Type="http://schemas.openxmlformats.org/officeDocument/2006/relationships/image" Target="../media/image3.png"/><Relationship Id="rId4" Type="http://schemas.openxmlformats.org/officeDocument/2006/relationships/image" Target="../media/image9.jp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21.xml"/><Relationship Id="rId7" Type="http://schemas.openxmlformats.org/officeDocument/2006/relationships/image" Target="../media/image10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2.jpg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svg"/><Relationship Id="rId5" Type="http://schemas.openxmlformats.org/officeDocument/2006/relationships/image" Target="../media/image3.png"/><Relationship Id="rId4" Type="http://schemas.openxmlformats.org/officeDocument/2006/relationships/image" Target="../media/image9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31.xml"/><Relationship Id="rId7" Type="http://schemas.openxmlformats.org/officeDocument/2006/relationships/image" Target="../media/image10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2.jpg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svg"/><Relationship Id="rId5" Type="http://schemas.openxmlformats.org/officeDocument/2006/relationships/image" Target="../media/image3.png"/><Relationship Id="rId4" Type="http://schemas.openxmlformats.org/officeDocument/2006/relationships/image" Target="../media/image9.jp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svg"/><Relationship Id="rId5" Type="http://schemas.openxmlformats.org/officeDocument/2006/relationships/image" Target="../media/image3.png"/><Relationship Id="rId4" Type="http://schemas.openxmlformats.org/officeDocument/2006/relationships/image" Target="../media/image7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593B2B3-47DD-4659-8434-3018D94C59B2}"/>
              </a:ext>
            </a:extLst>
          </p:cNvPr>
          <p:cNvSpPr/>
          <p:nvPr userDrawn="1"/>
        </p:nvSpPr>
        <p:spPr>
          <a:xfrm>
            <a:off x="-1142" y="0"/>
            <a:ext cx="9143999" cy="6858000"/>
          </a:xfrm>
          <a:prstGeom prst="rect">
            <a:avLst/>
          </a:prstGeom>
          <a:blipFill>
            <a:blip r:embed="rId5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F6897111-B325-41E4-9786-989BE5E64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30421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935" name="think-cell Slide" r:id="rId7" imgW="399" imgH="399" progId="TCLayout.ActiveDocument.1">
                  <p:embed/>
                </p:oleObj>
              </mc:Choice>
              <mc:Fallback>
                <p:oleObj name="think-cell Slide" r:id="rId7" imgW="399" imgH="3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F6897111-B325-41E4-9786-989BE5E64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5A37F58-3A59-47F9-8953-EEED04730B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86FD3EF-3862-45EE-9D8B-A0346B24775C}"/>
              </a:ext>
            </a:extLst>
          </p:cNvPr>
          <p:cNvSpPr/>
          <p:nvPr userDrawn="1"/>
        </p:nvSpPr>
        <p:spPr>
          <a:xfrm>
            <a:off x="-1142" y="1852863"/>
            <a:ext cx="9143999" cy="3910263"/>
          </a:xfrm>
          <a:prstGeom prst="rect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00E5D13-30D0-408D-B93A-83F665B66B7C}"/>
              </a:ext>
            </a:extLst>
          </p:cNvPr>
          <p:cNvSpPr/>
          <p:nvPr userDrawn="1"/>
        </p:nvSpPr>
        <p:spPr>
          <a:xfrm>
            <a:off x="-1142" y="2"/>
            <a:ext cx="9143999" cy="806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2" name="Titel 1">
            <a:extLst>
              <a:ext uri="{FF2B5EF4-FFF2-40B4-BE49-F238E27FC236}">
                <a16:creationId xmlns:a16="http://schemas.microsoft.com/office/drawing/2014/main" xmlns="" id="{502193AE-87BA-46B7-AE58-DAE934C2F9B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69999" y="2978926"/>
            <a:ext cx="8679691" cy="6690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baseline="0">
                <a:solidFill>
                  <a:schemeClr val="bg1"/>
                </a:solidFill>
                <a:latin typeface="+mj-lt"/>
                <a:ea typeface="+mj-ea"/>
                <a:cs typeface="Tahoma" panose="020B0604030504040204" pitchFamily="34" charset="0"/>
              </a:defRPr>
            </a:lvl1pPr>
            <a:lvl2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2pPr>
            <a:lvl3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3pPr>
            <a:lvl4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4pPr>
            <a:lvl5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5pPr>
            <a:lvl6pPr marL="457102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6pPr>
            <a:lvl7pPr marL="914205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7pPr>
            <a:lvl8pPr marL="1371306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8pPr>
            <a:lvl9pPr marL="1828409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3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Tahoma" panose="020B0604030504040204" pitchFamily="34" charset="0"/>
              </a:rPr>
              <a:t>AB &amp;DAVID COVID RESPONSE PROTOCOLS</a:t>
            </a: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xmlns="" id="{2292DF68-805B-48B4-BC20-B7442207B8D1}"/>
              </a:ext>
            </a:extLst>
          </p:cNvPr>
          <p:cNvSpPr txBox="1">
            <a:spLocks/>
          </p:cNvSpPr>
          <p:nvPr userDrawn="1"/>
        </p:nvSpPr>
        <p:spPr>
          <a:xfrm>
            <a:off x="269999" y="4694711"/>
            <a:ext cx="4590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de-DE" sz="1200" kern="1200" baseline="0" smtClean="0">
                <a:solidFill>
                  <a:schemeClr val="bg1"/>
                </a:solidFill>
                <a:latin typeface="Tahoma" panose="020B0604030504040204" pitchFamily="34" charset="0"/>
                <a:ea typeface="+mn-ea"/>
                <a:cs typeface="+mn-cs"/>
              </a:defRPr>
            </a:lvl1pPr>
            <a:lvl2pPr marL="457102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2pPr>
            <a:lvl3pPr marL="914205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3pPr>
            <a:lvl4pPr marL="1371306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4pPr>
            <a:lvl5pPr marL="1828409" algn="l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3600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3600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3600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8pPr>
            <a:lvl9pPr marL="3656818" algn="l" defTabSz="914205" rtl="0" eaLnBrk="1" latinLnBrk="0" hangingPunct="1">
              <a:defRPr sz="3600" kern="1200">
                <a:solidFill>
                  <a:schemeClr val="tx1"/>
                </a:solidFill>
                <a:latin typeface="Tahoma" charset="0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JULY 2020 | © AB &amp; David Africa 2020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5DCC63C3-236D-4176-81A3-1F2B97215B22}"/>
              </a:ext>
            </a:extLst>
          </p:cNvPr>
          <p:cNvSpPr/>
          <p:nvPr userDrawn="1"/>
        </p:nvSpPr>
        <p:spPr>
          <a:xfrm rot="10800000" flipV="1">
            <a:off x="1143" y="726434"/>
            <a:ext cx="9141714" cy="79678"/>
          </a:xfrm>
          <a:prstGeom prst="rect">
            <a:avLst/>
          </a:prstGeom>
          <a:solidFill>
            <a:srgbClr val="86002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013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893202D0-FFA1-44E3-BA40-A3D5CDE5C9A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15" y="166398"/>
            <a:ext cx="1183930" cy="458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25580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855605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0127261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1071255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67860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9471478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199246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0030034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9488865-4CD0-4B62-A7AD-CC898FAFA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310190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1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8B591C84-FACF-41C1-A13B-A94A3D4EC9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baseline="0" dirty="0">
              <a:latin typeface="Palatino" panose="02020500000000000000" pitchFamily="18" charset="0"/>
              <a:ea typeface="+mj-ea"/>
              <a:cs typeface="Arial" panose="020B0604020202020204" pitchFamily="34" charset="0"/>
              <a:sym typeface="Palatino" panose="02020500000000000000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8D744-AAE5-446A-B266-97CC092206BC}" type="datetime1">
              <a:rPr lang="en-GB" smtClean="0"/>
              <a:t>25/11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640CBD16-3804-4714-A66C-14A9B7FC4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7222"/>
            <a:ext cx="7886700" cy="4256082"/>
          </a:xfrm>
          <a:prstGeom prst="rect">
            <a:avLst/>
          </a:prstGeom>
          <a:noFill/>
        </p:spPr>
        <p:txBody>
          <a:bodyPr vert="horz" lIns="91440" tIns="1371600" rIns="91440" bIns="45720" rtlCol="0">
            <a:normAutofit/>
          </a:bodyPr>
          <a:lstStyle/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71282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ecial_Slide - Do_not_use!!!">
    <p:bg>
      <p:bgPr>
        <a:solidFill>
          <a:srgbClr val="8600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85FC3D0-A561-486D-BDEE-3FFE1B43E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2981" b="22930"/>
          <a:stretch/>
        </p:blipFill>
        <p:spPr>
          <a:xfrm flipH="1">
            <a:off x="3270353" y="14950"/>
            <a:ext cx="5856438" cy="6202971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0A6B3D2E-2936-4812-BD62-0C501598E0E8}"/>
              </a:ext>
            </a:extLst>
          </p:cNvPr>
          <p:cNvSpPr/>
          <p:nvPr userDrawn="1"/>
        </p:nvSpPr>
        <p:spPr>
          <a:xfrm>
            <a:off x="0" y="6177281"/>
            <a:ext cx="9144000" cy="696299"/>
          </a:xfrm>
          <a:custGeom>
            <a:avLst/>
            <a:gdLst>
              <a:gd name="connsiteX0" fmla="*/ 0 w 9144000"/>
              <a:gd name="connsiteY0" fmla="*/ 103106 h 522224"/>
              <a:gd name="connsiteX1" fmla="*/ 9144000 w 9144000"/>
              <a:gd name="connsiteY1" fmla="*/ 103106 h 522224"/>
              <a:gd name="connsiteX2" fmla="*/ 9144000 w 9144000"/>
              <a:gd name="connsiteY2" fmla="*/ 522224 h 522224"/>
              <a:gd name="connsiteX3" fmla="*/ 0 w 9144000"/>
              <a:gd name="connsiteY3" fmla="*/ 522224 h 522224"/>
              <a:gd name="connsiteX4" fmla="*/ 0 w 9144000"/>
              <a:gd name="connsiteY4" fmla="*/ 0 h 522224"/>
              <a:gd name="connsiteX5" fmla="*/ 9144000 w 9144000"/>
              <a:gd name="connsiteY5" fmla="*/ 0 h 522224"/>
              <a:gd name="connsiteX6" fmla="*/ 9144000 w 9144000"/>
              <a:gd name="connsiteY6" fmla="*/ 75674 h 522224"/>
              <a:gd name="connsiteX7" fmla="*/ 0 w 9144000"/>
              <a:gd name="connsiteY7" fmla="*/ 75674 h 5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22224">
                <a:moveTo>
                  <a:pt x="0" y="103106"/>
                </a:moveTo>
                <a:lnTo>
                  <a:pt x="9144000" y="103106"/>
                </a:lnTo>
                <a:lnTo>
                  <a:pt x="9144000" y="522224"/>
                </a:lnTo>
                <a:lnTo>
                  <a:pt x="0" y="522224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75674"/>
                </a:lnTo>
                <a:lnTo>
                  <a:pt x="0" y="75674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FBDDF87-DEF6-492A-A232-E0B1012762F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0003" y="6427478"/>
            <a:ext cx="835280" cy="323793"/>
          </a:xfrm>
          <a:prstGeom prst="rect">
            <a:avLst/>
          </a:prstGeom>
        </p:spPr>
      </p:pic>
      <p:sp>
        <p:nvSpPr>
          <p:cNvPr id="17" name="Titel 1">
            <a:extLst>
              <a:ext uri="{FF2B5EF4-FFF2-40B4-BE49-F238E27FC236}">
                <a16:creationId xmlns:a16="http://schemas.microsoft.com/office/drawing/2014/main" xmlns="" id="{842A0067-3169-482C-B65D-67968B3DDE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9999" y="1979845"/>
            <a:ext cx="6120000" cy="892048"/>
          </a:xfrm>
        </p:spPr>
        <p:txBody>
          <a:bodyPr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nge the title style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xmlns="" id="{0FF969D5-2109-449D-B01F-521B59A7535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59999" y="3199045"/>
            <a:ext cx="6120000" cy="8920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baseline="0">
                <a:solidFill>
                  <a:schemeClr val="bg1"/>
                </a:solidFill>
                <a:latin typeface="+mj-lt"/>
                <a:ea typeface="+mj-ea"/>
                <a:cs typeface="Tahoma" panose="020B0604030504040204" pitchFamily="34" charset="0"/>
              </a:defRPr>
            </a:lvl1pPr>
            <a:lvl2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2pPr>
            <a:lvl3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3pPr>
            <a:lvl4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4pPr>
            <a:lvl5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5pPr>
            <a:lvl6pPr marL="457102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6pPr>
            <a:lvl7pPr marL="914205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7pPr>
            <a:lvl8pPr marL="1371306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8pPr>
            <a:lvl9pPr marL="1828409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9pPr>
          </a:lstStyle>
          <a:p>
            <a:endParaRPr lang="de-DE" sz="2000" b="0" kern="0" dirty="0">
              <a:solidFill>
                <a:prstClr val="white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CC3F88D8-E28D-462D-B62A-5B3AF74E31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41576" y="5041034"/>
            <a:ext cx="704850" cy="1048111"/>
          </a:xfrm>
          <a:prstGeom prst="rect">
            <a:avLst/>
          </a:prstGeom>
        </p:spPr>
      </p:pic>
      <p:sp>
        <p:nvSpPr>
          <p:cNvPr id="20" name="Text Box 10">
            <a:extLst>
              <a:ext uri="{FF2B5EF4-FFF2-40B4-BE49-F238E27FC236}">
                <a16:creationId xmlns:a16="http://schemas.microsoft.com/office/drawing/2014/main" xmlns="" id="{DA7BF175-50EA-41D5-9B60-8A057FB83398}"/>
              </a:ext>
            </a:extLst>
          </p:cNvPr>
          <p:cNvSpPr txBox="1">
            <a:spLocks noChangeArrowheads="1"/>
          </p:cNvSpPr>
          <p:nvPr userDrawn="1"/>
        </p:nvSpPr>
        <p:spPr bwMode="black">
          <a:xfrm>
            <a:off x="7884002" y="6541573"/>
            <a:ext cx="900000" cy="102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>
              <a:lnSpc>
                <a:spcPts val="800"/>
              </a:lnSpc>
            </a:pPr>
            <a:r>
              <a:rPr lang="de-DE" sz="600" dirty="0">
                <a:solidFill>
                  <a:srgbClr val="860021"/>
                </a:solidFill>
                <a:latin typeface="Tahoma" panose="020B0604030504040204" pitchFamily="34" charset="0"/>
              </a:rPr>
              <a:t>© AB &amp; David Africa 2020</a:t>
            </a:r>
          </a:p>
        </p:txBody>
      </p:sp>
    </p:spTree>
    <p:extLst>
      <p:ext uri="{BB962C8B-B14F-4D97-AF65-F5344CB8AC3E}">
        <p14:creationId xmlns:p14="http://schemas.microsoft.com/office/powerpoint/2010/main" val="3079929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11708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B2FFBBF-FF7E-4D6C-B3CC-1A9DF5EB3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610522E-3AB1-44DE-AB92-3580069F5E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92905D5-D7DA-4405-B17B-3CF24E568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B00B3EB-8AED-4A0F-AA7E-CE9190BEC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373B2E10-234D-4BCE-A146-8B12BC48C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8650" y="1981200"/>
            <a:ext cx="7886700" cy="4008438"/>
          </a:xfrm>
        </p:spPr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68013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6FB218-E6EE-4B95-8CC6-793E6A59D8F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650576-8E9F-4317-8FAC-8B47570A12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8749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112560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A1A27E-2D1B-4FE4-81EB-4CD87C0BFC6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20 AB &amp; David – all rights reserved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8DA199C7-2BA7-4E6A-92C8-DA3209F5B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6019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7851CA35-D642-4DB7-A350-C3218482B3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8282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786861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8131822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741718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230846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218141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364906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290007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8DA199C7-2BA7-4E6A-92C8-DA3209F5B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12809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757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7851CA35-D642-4DB7-A350-C3218482B3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baseline="0" dirty="0">
              <a:latin typeface="Palatino" panose="02020500000000000000" pitchFamily="18" charset="0"/>
              <a:ea typeface="+mj-ea"/>
              <a:cs typeface="Arial" panose="020B0604020202020204" pitchFamily="34" charset="0"/>
              <a:sym typeface="Palatino" panose="02020500000000000000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A1A27E-2D1B-4FE4-81EB-4CD87C0BFC6B}" type="datetime1">
              <a:rPr lang="en-GB" smtClean="0"/>
              <a:t>25/1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AB &amp; David – all rights reserved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4598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F6897111-B325-41E4-9786-989BE5E64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43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5A37F58-3A59-47F9-8953-EEED04730B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00E5D13-30D0-408D-B93A-83F665B66B7C}"/>
              </a:ext>
            </a:extLst>
          </p:cNvPr>
          <p:cNvSpPr/>
          <p:nvPr userDrawn="1"/>
        </p:nvSpPr>
        <p:spPr>
          <a:xfrm>
            <a:off x="-1142" y="2"/>
            <a:ext cx="9143999" cy="806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2D81863D-E690-4F59-90B7-B668E563C9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14" y="166398"/>
            <a:ext cx="1183932" cy="45894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DD2D7489-303D-4807-8A6A-953CF8F88972}"/>
              </a:ext>
            </a:extLst>
          </p:cNvPr>
          <p:cNvSpPr/>
          <p:nvPr userDrawn="1"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prstClr val="white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C3B2E417-6E03-487B-9D74-D6C7E585AA7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450" y="207568"/>
            <a:ext cx="2229645" cy="8643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593B2B3-47DD-4659-8434-3018D94C59B2}"/>
              </a:ext>
            </a:extLst>
          </p:cNvPr>
          <p:cNvSpPr/>
          <p:nvPr userDrawn="1"/>
        </p:nvSpPr>
        <p:spPr>
          <a:xfrm flipH="1">
            <a:off x="-1143" y="1286304"/>
            <a:ext cx="9143999" cy="5571697"/>
          </a:xfrm>
          <a:prstGeom prst="rect">
            <a:avLst/>
          </a:prstGeom>
          <a:blipFill>
            <a:blip r:embed="rId9"/>
            <a:srcRect/>
            <a:stretch>
              <a:fillRect t="-11543" b="-1154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86FD3EF-3862-45EE-9D8B-A0346B24775C}"/>
              </a:ext>
            </a:extLst>
          </p:cNvPr>
          <p:cNvSpPr/>
          <p:nvPr userDrawn="1"/>
        </p:nvSpPr>
        <p:spPr>
          <a:xfrm>
            <a:off x="-1143" y="1286303"/>
            <a:ext cx="9143999" cy="557169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2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xmlns="" id="{2821831E-7E66-4EA5-BCBC-94659B77DA8A}"/>
              </a:ext>
            </a:extLst>
          </p:cNvPr>
          <p:cNvSpPr/>
          <p:nvPr userDrawn="1"/>
        </p:nvSpPr>
        <p:spPr>
          <a:xfrm>
            <a:off x="1" y="6227180"/>
            <a:ext cx="9142856" cy="630820"/>
          </a:xfrm>
          <a:custGeom>
            <a:avLst/>
            <a:gdLst>
              <a:gd name="connsiteX0" fmla="*/ 0 w 9144000"/>
              <a:gd name="connsiteY0" fmla="*/ 103106 h 522224"/>
              <a:gd name="connsiteX1" fmla="*/ 9144000 w 9144000"/>
              <a:gd name="connsiteY1" fmla="*/ 103106 h 522224"/>
              <a:gd name="connsiteX2" fmla="*/ 9144000 w 9144000"/>
              <a:gd name="connsiteY2" fmla="*/ 522224 h 522224"/>
              <a:gd name="connsiteX3" fmla="*/ 0 w 9144000"/>
              <a:gd name="connsiteY3" fmla="*/ 522224 h 522224"/>
              <a:gd name="connsiteX4" fmla="*/ 0 w 9144000"/>
              <a:gd name="connsiteY4" fmla="*/ 0 h 522224"/>
              <a:gd name="connsiteX5" fmla="*/ 9144000 w 9144000"/>
              <a:gd name="connsiteY5" fmla="*/ 0 h 522224"/>
              <a:gd name="connsiteX6" fmla="*/ 9144000 w 9144000"/>
              <a:gd name="connsiteY6" fmla="*/ 75674 h 522224"/>
              <a:gd name="connsiteX7" fmla="*/ 0 w 9144000"/>
              <a:gd name="connsiteY7" fmla="*/ 75674 h 5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22224">
                <a:moveTo>
                  <a:pt x="0" y="103106"/>
                </a:moveTo>
                <a:lnTo>
                  <a:pt x="9144000" y="103106"/>
                </a:lnTo>
                <a:lnTo>
                  <a:pt x="9144000" y="522224"/>
                </a:lnTo>
                <a:lnTo>
                  <a:pt x="0" y="522224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75674"/>
                </a:lnTo>
                <a:lnTo>
                  <a:pt x="0" y="75674"/>
                </a:lnTo>
                <a:close/>
              </a:path>
            </a:pathLst>
          </a:custGeom>
          <a:solidFill>
            <a:srgbClr val="043A92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500" tIns="67500" rIns="67500" bIns="67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 dirty="0" err="1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Text Box 10">
            <a:extLst>
              <a:ext uri="{FF2B5EF4-FFF2-40B4-BE49-F238E27FC236}">
                <a16:creationId xmlns:a16="http://schemas.microsoft.com/office/drawing/2014/main" xmlns="" id="{E7D2A7F6-7A4A-4BA5-96CB-EDF24FC9DB83}"/>
              </a:ext>
            </a:extLst>
          </p:cNvPr>
          <p:cNvSpPr txBox="1">
            <a:spLocks noChangeArrowheads="1"/>
          </p:cNvSpPr>
          <p:nvPr userDrawn="1"/>
        </p:nvSpPr>
        <p:spPr bwMode="black">
          <a:xfrm>
            <a:off x="7629526" y="6582470"/>
            <a:ext cx="1085324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>
              <a:lnSpc>
                <a:spcPts val="600"/>
              </a:lnSpc>
            </a:pPr>
            <a:r>
              <a:rPr lang="de-DE" sz="675" dirty="0">
                <a:solidFill>
                  <a:prstClr val="white"/>
                </a:solidFill>
              </a:rPr>
              <a:t>© AB &amp; David Africa 202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0E88E340-2F05-41C4-B78C-4FBBCF35DD6D}"/>
              </a:ext>
            </a:extLst>
          </p:cNvPr>
          <p:cNvSpPr/>
          <p:nvPr userDrawn="1"/>
        </p:nvSpPr>
        <p:spPr>
          <a:xfrm>
            <a:off x="1" y="1286304"/>
            <a:ext cx="9142856" cy="207217"/>
          </a:xfrm>
          <a:prstGeom prst="rect">
            <a:avLst/>
          </a:prstGeom>
          <a:solidFill>
            <a:srgbClr val="86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15518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379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ecial_Slide - Do_not_use!!!">
    <p:bg>
      <p:bgPr>
        <a:solidFill>
          <a:srgbClr val="8600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85FC3D0-A561-486D-BDEE-3FFE1B43E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2981" b="22930"/>
          <a:stretch/>
        </p:blipFill>
        <p:spPr>
          <a:xfrm flipH="1">
            <a:off x="3270353" y="14950"/>
            <a:ext cx="5856438" cy="6202971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0A6B3D2E-2936-4812-BD62-0C501598E0E8}"/>
              </a:ext>
            </a:extLst>
          </p:cNvPr>
          <p:cNvSpPr/>
          <p:nvPr userDrawn="1"/>
        </p:nvSpPr>
        <p:spPr>
          <a:xfrm>
            <a:off x="0" y="6177281"/>
            <a:ext cx="9144000" cy="696299"/>
          </a:xfrm>
          <a:custGeom>
            <a:avLst/>
            <a:gdLst>
              <a:gd name="connsiteX0" fmla="*/ 0 w 9144000"/>
              <a:gd name="connsiteY0" fmla="*/ 103106 h 522224"/>
              <a:gd name="connsiteX1" fmla="*/ 9144000 w 9144000"/>
              <a:gd name="connsiteY1" fmla="*/ 103106 h 522224"/>
              <a:gd name="connsiteX2" fmla="*/ 9144000 w 9144000"/>
              <a:gd name="connsiteY2" fmla="*/ 522224 h 522224"/>
              <a:gd name="connsiteX3" fmla="*/ 0 w 9144000"/>
              <a:gd name="connsiteY3" fmla="*/ 522224 h 522224"/>
              <a:gd name="connsiteX4" fmla="*/ 0 w 9144000"/>
              <a:gd name="connsiteY4" fmla="*/ 0 h 522224"/>
              <a:gd name="connsiteX5" fmla="*/ 9144000 w 9144000"/>
              <a:gd name="connsiteY5" fmla="*/ 0 h 522224"/>
              <a:gd name="connsiteX6" fmla="*/ 9144000 w 9144000"/>
              <a:gd name="connsiteY6" fmla="*/ 75674 h 522224"/>
              <a:gd name="connsiteX7" fmla="*/ 0 w 9144000"/>
              <a:gd name="connsiteY7" fmla="*/ 75674 h 5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22224">
                <a:moveTo>
                  <a:pt x="0" y="103106"/>
                </a:moveTo>
                <a:lnTo>
                  <a:pt x="9144000" y="103106"/>
                </a:lnTo>
                <a:lnTo>
                  <a:pt x="9144000" y="522224"/>
                </a:lnTo>
                <a:lnTo>
                  <a:pt x="0" y="522224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75674"/>
                </a:lnTo>
                <a:lnTo>
                  <a:pt x="0" y="75674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FBDDF87-DEF6-492A-A232-E0B1012762F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0003" y="6427478"/>
            <a:ext cx="835280" cy="323793"/>
          </a:xfrm>
          <a:prstGeom prst="rect">
            <a:avLst/>
          </a:prstGeom>
        </p:spPr>
      </p:pic>
      <p:sp>
        <p:nvSpPr>
          <p:cNvPr id="17" name="Titel 1">
            <a:extLst>
              <a:ext uri="{FF2B5EF4-FFF2-40B4-BE49-F238E27FC236}">
                <a16:creationId xmlns:a16="http://schemas.microsoft.com/office/drawing/2014/main" xmlns="" id="{842A0067-3169-482C-B65D-67968B3DDE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9999" y="1979845"/>
            <a:ext cx="6120000" cy="892048"/>
          </a:xfrm>
        </p:spPr>
        <p:txBody>
          <a:bodyPr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nge the title style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xmlns="" id="{0FF969D5-2109-449D-B01F-521B59A7535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59999" y="3199045"/>
            <a:ext cx="6120000" cy="8920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baseline="0">
                <a:solidFill>
                  <a:schemeClr val="bg1"/>
                </a:solidFill>
                <a:latin typeface="+mj-lt"/>
                <a:ea typeface="+mj-ea"/>
                <a:cs typeface="Tahoma" panose="020B0604030504040204" pitchFamily="34" charset="0"/>
              </a:defRPr>
            </a:lvl1pPr>
            <a:lvl2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2pPr>
            <a:lvl3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3pPr>
            <a:lvl4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4pPr>
            <a:lvl5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5pPr>
            <a:lvl6pPr marL="457102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6pPr>
            <a:lvl7pPr marL="914205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7pPr>
            <a:lvl8pPr marL="1371306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8pPr>
            <a:lvl9pPr marL="1828409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9pPr>
          </a:lstStyle>
          <a:p>
            <a:endParaRPr lang="de-DE" sz="2000" b="0" kern="0" dirty="0">
              <a:solidFill>
                <a:prstClr val="white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CC3F88D8-E28D-462D-B62A-5B3AF74E31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41576" y="5041034"/>
            <a:ext cx="704850" cy="1048111"/>
          </a:xfrm>
          <a:prstGeom prst="rect">
            <a:avLst/>
          </a:prstGeom>
        </p:spPr>
      </p:pic>
      <p:sp>
        <p:nvSpPr>
          <p:cNvPr id="20" name="Text Box 10">
            <a:extLst>
              <a:ext uri="{FF2B5EF4-FFF2-40B4-BE49-F238E27FC236}">
                <a16:creationId xmlns:a16="http://schemas.microsoft.com/office/drawing/2014/main" xmlns="" id="{DA7BF175-50EA-41D5-9B60-8A057FB83398}"/>
              </a:ext>
            </a:extLst>
          </p:cNvPr>
          <p:cNvSpPr txBox="1">
            <a:spLocks noChangeArrowheads="1"/>
          </p:cNvSpPr>
          <p:nvPr userDrawn="1"/>
        </p:nvSpPr>
        <p:spPr bwMode="black">
          <a:xfrm>
            <a:off x="7884002" y="6541573"/>
            <a:ext cx="900000" cy="102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>
              <a:lnSpc>
                <a:spcPts val="800"/>
              </a:lnSpc>
            </a:pPr>
            <a:r>
              <a:rPr lang="de-DE" sz="600" dirty="0">
                <a:solidFill>
                  <a:srgbClr val="860021"/>
                </a:solidFill>
                <a:latin typeface="Tahoma" panose="020B0604030504040204" pitchFamily="34" charset="0"/>
              </a:rPr>
              <a:t>© AB &amp; David Africa 2020</a:t>
            </a:r>
          </a:p>
        </p:txBody>
      </p:sp>
    </p:spTree>
    <p:extLst>
      <p:ext uri="{BB962C8B-B14F-4D97-AF65-F5344CB8AC3E}">
        <p14:creationId xmlns:p14="http://schemas.microsoft.com/office/powerpoint/2010/main" val="42148827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9488865-4CD0-4B62-A7AD-CC898FAFA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67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8B591C84-FACF-41C1-A13B-A94A3D4EC9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8D744-AAE5-446A-B266-97CC092206B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20 AB &amp; David – all rights reserved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640CBD16-3804-4714-A66C-14A9B7FC4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7222"/>
            <a:ext cx="7886700" cy="4256082"/>
          </a:xfrm>
          <a:prstGeom prst="rect">
            <a:avLst/>
          </a:prstGeom>
          <a:noFill/>
        </p:spPr>
        <p:txBody>
          <a:bodyPr vert="horz" lIns="91440" tIns="1371600" rIns="91440" bIns="45720" rtlCol="0">
            <a:normAutofit/>
          </a:bodyPr>
          <a:lstStyle/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64232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9488865-4CD0-4B62-A7AD-CC898FAFA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091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8B591C84-FACF-41C1-A13B-A94A3D4EC9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8D744-AAE5-446A-B266-97CC092206B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20 AB &amp; David – all rights reserved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640CBD16-3804-4714-A66C-14A9B7FC4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7222"/>
            <a:ext cx="7886700" cy="4256082"/>
          </a:xfrm>
          <a:prstGeom prst="rect">
            <a:avLst/>
          </a:prstGeom>
          <a:noFill/>
        </p:spPr>
        <p:txBody>
          <a:bodyPr vert="horz" lIns="91440" tIns="1371600" rIns="91440" bIns="45720" rtlCol="0">
            <a:normAutofit/>
          </a:bodyPr>
          <a:lstStyle/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08168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396195"/>
      </p:ext>
    </p:extLst>
  </p:cSld>
  <p:clrMapOvr>
    <a:masterClrMapping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6FB218-E6EE-4B95-8CC6-793E6A59D8F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25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650576-8E9F-4317-8FAC-8B47570A12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0914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431929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A1A27E-2D1B-4FE4-81EB-4CD87C0BFC6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20 AB &amp; David – all rights reserved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8DA199C7-2BA7-4E6A-92C8-DA3209F5B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2162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7851CA35-D642-4DB7-A350-C3218482B3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3506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082222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6523377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9488865-4CD0-4B62-A7AD-CC898FAFA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91927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06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8B591C84-FACF-41C1-A13B-A94A3D4EC9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baseline="0" dirty="0">
              <a:latin typeface="Palatino" panose="02020500000000000000" pitchFamily="18" charset="0"/>
              <a:ea typeface="+mj-ea"/>
              <a:cs typeface="Arial" panose="020B0604020202020204" pitchFamily="34" charset="0"/>
              <a:sym typeface="Palatino" panose="02020500000000000000" pitchFamily="18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8D744-AAE5-446A-B266-97CC092206BC}" type="datetime1">
              <a:rPr lang="en-GB" smtClean="0"/>
              <a:t>25/11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640CBD16-3804-4714-A66C-14A9B7FC4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7222"/>
            <a:ext cx="7886700" cy="4256082"/>
          </a:xfrm>
          <a:prstGeom prst="rect">
            <a:avLst/>
          </a:prstGeom>
          <a:noFill/>
        </p:spPr>
        <p:txBody>
          <a:bodyPr vert="horz" lIns="91440" tIns="1371600" rIns="91440" bIns="45720" rtlCol="0">
            <a:normAutofit/>
          </a:bodyPr>
          <a:lstStyle/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2414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726462"/>
      </p:ext>
    </p:extLst>
  </p:cSld>
  <p:clrMapOvr>
    <a:masterClrMapping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115092"/>
      </p:ext>
    </p:extLst>
  </p:cSld>
  <p:clrMapOvr>
    <a:masterClrMapping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432238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505249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905265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F6897111-B325-41E4-9786-989BE5E64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86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35A37F58-3A59-47F9-8953-EEED04730B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00E5D13-30D0-408D-B93A-83F665B66B7C}"/>
              </a:ext>
            </a:extLst>
          </p:cNvPr>
          <p:cNvSpPr/>
          <p:nvPr userDrawn="1"/>
        </p:nvSpPr>
        <p:spPr>
          <a:xfrm>
            <a:off x="-1142" y="2"/>
            <a:ext cx="9143999" cy="8061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2D81863D-E690-4F59-90B7-B668E563C99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14" y="166398"/>
            <a:ext cx="1183932" cy="45894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DD2D7489-303D-4807-8A6A-953CF8F88972}"/>
              </a:ext>
            </a:extLst>
          </p:cNvPr>
          <p:cNvSpPr/>
          <p:nvPr userDrawn="1"/>
        </p:nvSpPr>
        <p:spPr>
          <a:xfrm>
            <a:off x="0" y="1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prstClr val="white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C3B2E417-6E03-487B-9D74-D6C7E585AA7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450" y="207568"/>
            <a:ext cx="2229645" cy="86431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593B2B3-47DD-4659-8434-3018D94C59B2}"/>
              </a:ext>
            </a:extLst>
          </p:cNvPr>
          <p:cNvSpPr/>
          <p:nvPr userDrawn="1"/>
        </p:nvSpPr>
        <p:spPr>
          <a:xfrm flipH="1">
            <a:off x="-1143" y="1286304"/>
            <a:ext cx="9143999" cy="5571697"/>
          </a:xfrm>
          <a:prstGeom prst="rect">
            <a:avLst/>
          </a:prstGeom>
          <a:blipFill>
            <a:blip r:embed="rId9"/>
            <a:srcRect/>
            <a:stretch>
              <a:fillRect t="-11543" b="-1154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986FD3EF-3862-45EE-9D8B-A0346B24775C}"/>
              </a:ext>
            </a:extLst>
          </p:cNvPr>
          <p:cNvSpPr/>
          <p:nvPr userDrawn="1"/>
        </p:nvSpPr>
        <p:spPr>
          <a:xfrm>
            <a:off x="-1143" y="1286303"/>
            <a:ext cx="9143999" cy="5571696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2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xmlns="" id="{2821831E-7E66-4EA5-BCBC-94659B77DA8A}"/>
              </a:ext>
            </a:extLst>
          </p:cNvPr>
          <p:cNvSpPr/>
          <p:nvPr userDrawn="1"/>
        </p:nvSpPr>
        <p:spPr>
          <a:xfrm>
            <a:off x="1" y="6227180"/>
            <a:ext cx="9142856" cy="630820"/>
          </a:xfrm>
          <a:custGeom>
            <a:avLst/>
            <a:gdLst>
              <a:gd name="connsiteX0" fmla="*/ 0 w 9144000"/>
              <a:gd name="connsiteY0" fmla="*/ 103106 h 522224"/>
              <a:gd name="connsiteX1" fmla="*/ 9144000 w 9144000"/>
              <a:gd name="connsiteY1" fmla="*/ 103106 h 522224"/>
              <a:gd name="connsiteX2" fmla="*/ 9144000 w 9144000"/>
              <a:gd name="connsiteY2" fmla="*/ 522224 h 522224"/>
              <a:gd name="connsiteX3" fmla="*/ 0 w 9144000"/>
              <a:gd name="connsiteY3" fmla="*/ 522224 h 522224"/>
              <a:gd name="connsiteX4" fmla="*/ 0 w 9144000"/>
              <a:gd name="connsiteY4" fmla="*/ 0 h 522224"/>
              <a:gd name="connsiteX5" fmla="*/ 9144000 w 9144000"/>
              <a:gd name="connsiteY5" fmla="*/ 0 h 522224"/>
              <a:gd name="connsiteX6" fmla="*/ 9144000 w 9144000"/>
              <a:gd name="connsiteY6" fmla="*/ 75674 h 522224"/>
              <a:gd name="connsiteX7" fmla="*/ 0 w 9144000"/>
              <a:gd name="connsiteY7" fmla="*/ 75674 h 5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22224">
                <a:moveTo>
                  <a:pt x="0" y="103106"/>
                </a:moveTo>
                <a:lnTo>
                  <a:pt x="9144000" y="103106"/>
                </a:lnTo>
                <a:lnTo>
                  <a:pt x="9144000" y="522224"/>
                </a:lnTo>
                <a:lnTo>
                  <a:pt x="0" y="522224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75674"/>
                </a:lnTo>
                <a:lnTo>
                  <a:pt x="0" y="75674"/>
                </a:lnTo>
                <a:close/>
              </a:path>
            </a:pathLst>
          </a:custGeom>
          <a:solidFill>
            <a:srgbClr val="043A92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500" tIns="67500" rIns="67500" bIns="675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900" dirty="0" err="1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" name="Text Box 10">
            <a:extLst>
              <a:ext uri="{FF2B5EF4-FFF2-40B4-BE49-F238E27FC236}">
                <a16:creationId xmlns:a16="http://schemas.microsoft.com/office/drawing/2014/main" xmlns="" id="{E7D2A7F6-7A4A-4BA5-96CB-EDF24FC9DB83}"/>
              </a:ext>
            </a:extLst>
          </p:cNvPr>
          <p:cNvSpPr txBox="1">
            <a:spLocks noChangeArrowheads="1"/>
          </p:cNvSpPr>
          <p:nvPr userDrawn="1"/>
        </p:nvSpPr>
        <p:spPr bwMode="black">
          <a:xfrm>
            <a:off x="7629526" y="6582470"/>
            <a:ext cx="1085324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>
              <a:lnSpc>
                <a:spcPts val="600"/>
              </a:lnSpc>
            </a:pPr>
            <a:r>
              <a:rPr lang="de-DE" sz="675" dirty="0">
                <a:solidFill>
                  <a:prstClr val="white"/>
                </a:solidFill>
              </a:rPr>
              <a:t>© AB &amp; David Africa 2020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0E88E340-2F05-41C4-B78C-4FBBCF35DD6D}"/>
              </a:ext>
            </a:extLst>
          </p:cNvPr>
          <p:cNvSpPr/>
          <p:nvPr userDrawn="1"/>
        </p:nvSpPr>
        <p:spPr>
          <a:xfrm>
            <a:off x="1" y="1286304"/>
            <a:ext cx="9142856" cy="207217"/>
          </a:xfrm>
          <a:prstGeom prst="rect">
            <a:avLst/>
          </a:prstGeom>
          <a:solidFill>
            <a:srgbClr val="860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0266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3793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pecial_Slide - Do_not_use!!!">
    <p:bg>
      <p:bgPr>
        <a:solidFill>
          <a:srgbClr val="8600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85FC3D0-A561-486D-BDEE-3FFE1B43E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2981" b="22930"/>
          <a:stretch/>
        </p:blipFill>
        <p:spPr>
          <a:xfrm flipH="1">
            <a:off x="3270353" y="14950"/>
            <a:ext cx="5856438" cy="6202971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0A6B3D2E-2936-4812-BD62-0C501598E0E8}"/>
              </a:ext>
            </a:extLst>
          </p:cNvPr>
          <p:cNvSpPr/>
          <p:nvPr userDrawn="1"/>
        </p:nvSpPr>
        <p:spPr>
          <a:xfrm>
            <a:off x="0" y="6177281"/>
            <a:ext cx="9144000" cy="696299"/>
          </a:xfrm>
          <a:custGeom>
            <a:avLst/>
            <a:gdLst>
              <a:gd name="connsiteX0" fmla="*/ 0 w 9144000"/>
              <a:gd name="connsiteY0" fmla="*/ 103106 h 522224"/>
              <a:gd name="connsiteX1" fmla="*/ 9144000 w 9144000"/>
              <a:gd name="connsiteY1" fmla="*/ 103106 h 522224"/>
              <a:gd name="connsiteX2" fmla="*/ 9144000 w 9144000"/>
              <a:gd name="connsiteY2" fmla="*/ 522224 h 522224"/>
              <a:gd name="connsiteX3" fmla="*/ 0 w 9144000"/>
              <a:gd name="connsiteY3" fmla="*/ 522224 h 522224"/>
              <a:gd name="connsiteX4" fmla="*/ 0 w 9144000"/>
              <a:gd name="connsiteY4" fmla="*/ 0 h 522224"/>
              <a:gd name="connsiteX5" fmla="*/ 9144000 w 9144000"/>
              <a:gd name="connsiteY5" fmla="*/ 0 h 522224"/>
              <a:gd name="connsiteX6" fmla="*/ 9144000 w 9144000"/>
              <a:gd name="connsiteY6" fmla="*/ 75674 h 522224"/>
              <a:gd name="connsiteX7" fmla="*/ 0 w 9144000"/>
              <a:gd name="connsiteY7" fmla="*/ 75674 h 5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22224">
                <a:moveTo>
                  <a:pt x="0" y="103106"/>
                </a:moveTo>
                <a:lnTo>
                  <a:pt x="9144000" y="103106"/>
                </a:lnTo>
                <a:lnTo>
                  <a:pt x="9144000" y="522224"/>
                </a:lnTo>
                <a:lnTo>
                  <a:pt x="0" y="522224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75674"/>
                </a:lnTo>
                <a:lnTo>
                  <a:pt x="0" y="75674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err="1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FBDDF87-DEF6-492A-A232-E0B1012762F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60003" y="6427478"/>
            <a:ext cx="835280" cy="323793"/>
          </a:xfrm>
          <a:prstGeom prst="rect">
            <a:avLst/>
          </a:prstGeom>
        </p:spPr>
      </p:pic>
      <p:sp>
        <p:nvSpPr>
          <p:cNvPr id="17" name="Titel 1">
            <a:extLst>
              <a:ext uri="{FF2B5EF4-FFF2-40B4-BE49-F238E27FC236}">
                <a16:creationId xmlns:a16="http://schemas.microsoft.com/office/drawing/2014/main" xmlns="" id="{842A0067-3169-482C-B65D-67968B3DDE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9999" y="1979845"/>
            <a:ext cx="6120000" cy="892048"/>
          </a:xfrm>
        </p:spPr>
        <p:txBody>
          <a:bodyPr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nge the title style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xmlns="" id="{0FF969D5-2109-449D-B01F-521B59A7535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59999" y="3199045"/>
            <a:ext cx="6120000" cy="8920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baseline="0">
                <a:solidFill>
                  <a:schemeClr val="bg1"/>
                </a:solidFill>
                <a:latin typeface="+mj-lt"/>
                <a:ea typeface="+mj-ea"/>
                <a:cs typeface="Tahoma" panose="020B0604030504040204" pitchFamily="34" charset="0"/>
              </a:defRPr>
            </a:lvl1pPr>
            <a:lvl2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2pPr>
            <a:lvl3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3pPr>
            <a:lvl4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4pPr>
            <a:lvl5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5pPr>
            <a:lvl6pPr marL="457102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6pPr>
            <a:lvl7pPr marL="914205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7pPr>
            <a:lvl8pPr marL="1371306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8pPr>
            <a:lvl9pPr marL="1828409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9pPr>
          </a:lstStyle>
          <a:p>
            <a:endParaRPr lang="de-DE" sz="2000" b="0" kern="0" dirty="0">
              <a:solidFill>
                <a:prstClr val="white"/>
              </a:solidFill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CC3F88D8-E28D-462D-B62A-5B3AF74E31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41576" y="5041034"/>
            <a:ext cx="704850" cy="1048111"/>
          </a:xfrm>
          <a:prstGeom prst="rect">
            <a:avLst/>
          </a:prstGeom>
        </p:spPr>
      </p:pic>
      <p:sp>
        <p:nvSpPr>
          <p:cNvPr id="20" name="Text Box 10">
            <a:extLst>
              <a:ext uri="{FF2B5EF4-FFF2-40B4-BE49-F238E27FC236}">
                <a16:creationId xmlns:a16="http://schemas.microsoft.com/office/drawing/2014/main" xmlns="" id="{DA7BF175-50EA-41D5-9B60-8A057FB83398}"/>
              </a:ext>
            </a:extLst>
          </p:cNvPr>
          <p:cNvSpPr txBox="1">
            <a:spLocks noChangeArrowheads="1"/>
          </p:cNvSpPr>
          <p:nvPr userDrawn="1"/>
        </p:nvSpPr>
        <p:spPr bwMode="black">
          <a:xfrm>
            <a:off x="7884002" y="6541573"/>
            <a:ext cx="900000" cy="102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>
              <a:lnSpc>
                <a:spcPts val="800"/>
              </a:lnSpc>
            </a:pPr>
            <a:r>
              <a:rPr lang="de-DE" sz="600" dirty="0">
                <a:solidFill>
                  <a:srgbClr val="860021"/>
                </a:solidFill>
                <a:latin typeface="Tahoma" panose="020B0604030504040204" pitchFamily="34" charset="0"/>
              </a:rPr>
              <a:t>© AB &amp; David Africa 2020</a:t>
            </a:r>
          </a:p>
        </p:txBody>
      </p:sp>
    </p:spTree>
    <p:extLst>
      <p:ext uri="{BB962C8B-B14F-4D97-AF65-F5344CB8AC3E}">
        <p14:creationId xmlns:p14="http://schemas.microsoft.com/office/powerpoint/2010/main" val="13853926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9488865-4CD0-4B62-A7AD-CC898FAFA7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34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8B591C84-FACF-41C1-A13B-A94A3D4EC9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A8D744-AAE5-446A-B266-97CC092206B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© 2020 AB &amp; David – all rights reserved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xmlns="" id="{640CBD16-3804-4714-A66C-14A9B7FC44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7222"/>
            <a:ext cx="7886700" cy="4256082"/>
          </a:xfrm>
          <a:prstGeom prst="rect">
            <a:avLst/>
          </a:prstGeom>
          <a:noFill/>
        </p:spPr>
        <p:txBody>
          <a:bodyPr vert="horz" lIns="91440" tIns="1371600" rIns="91440" bIns="45720" rtlCol="0">
            <a:normAutofit/>
          </a:bodyPr>
          <a:lstStyle/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4691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_Slide - Do_not_use!!!">
    <p:bg>
      <p:bgPr>
        <a:solidFill>
          <a:srgbClr val="86002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85FC3D0-A561-486D-BDEE-3FFE1B43EC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270353" y="14950"/>
            <a:ext cx="5856438" cy="6202971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0A6B3D2E-2936-4812-BD62-0C501598E0E8}"/>
              </a:ext>
            </a:extLst>
          </p:cNvPr>
          <p:cNvSpPr/>
          <p:nvPr userDrawn="1"/>
        </p:nvSpPr>
        <p:spPr>
          <a:xfrm>
            <a:off x="0" y="6177281"/>
            <a:ext cx="9144000" cy="696299"/>
          </a:xfrm>
          <a:custGeom>
            <a:avLst/>
            <a:gdLst>
              <a:gd name="connsiteX0" fmla="*/ 0 w 9144000"/>
              <a:gd name="connsiteY0" fmla="*/ 103106 h 522224"/>
              <a:gd name="connsiteX1" fmla="*/ 9144000 w 9144000"/>
              <a:gd name="connsiteY1" fmla="*/ 103106 h 522224"/>
              <a:gd name="connsiteX2" fmla="*/ 9144000 w 9144000"/>
              <a:gd name="connsiteY2" fmla="*/ 522224 h 522224"/>
              <a:gd name="connsiteX3" fmla="*/ 0 w 9144000"/>
              <a:gd name="connsiteY3" fmla="*/ 522224 h 522224"/>
              <a:gd name="connsiteX4" fmla="*/ 0 w 9144000"/>
              <a:gd name="connsiteY4" fmla="*/ 0 h 522224"/>
              <a:gd name="connsiteX5" fmla="*/ 9144000 w 9144000"/>
              <a:gd name="connsiteY5" fmla="*/ 0 h 522224"/>
              <a:gd name="connsiteX6" fmla="*/ 9144000 w 9144000"/>
              <a:gd name="connsiteY6" fmla="*/ 75674 h 522224"/>
              <a:gd name="connsiteX7" fmla="*/ 0 w 9144000"/>
              <a:gd name="connsiteY7" fmla="*/ 75674 h 522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522224">
                <a:moveTo>
                  <a:pt x="0" y="103106"/>
                </a:moveTo>
                <a:lnTo>
                  <a:pt x="9144000" y="103106"/>
                </a:lnTo>
                <a:lnTo>
                  <a:pt x="9144000" y="522224"/>
                </a:lnTo>
                <a:lnTo>
                  <a:pt x="0" y="522224"/>
                </a:lnTo>
                <a:close/>
                <a:moveTo>
                  <a:pt x="0" y="0"/>
                </a:moveTo>
                <a:lnTo>
                  <a:pt x="9144000" y="0"/>
                </a:lnTo>
                <a:lnTo>
                  <a:pt x="9144000" y="75674"/>
                </a:lnTo>
                <a:lnTo>
                  <a:pt x="0" y="75674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</a:pPr>
            <a:endParaRPr lang="en-GB" sz="1200" dirty="0" err="1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BFBDDF87-DEF6-492A-A232-E0B1012762F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3" y="6427478"/>
            <a:ext cx="835280" cy="323793"/>
          </a:xfrm>
          <a:prstGeom prst="rect">
            <a:avLst/>
          </a:prstGeom>
        </p:spPr>
      </p:pic>
      <p:sp>
        <p:nvSpPr>
          <p:cNvPr id="17" name="Titel 1">
            <a:extLst>
              <a:ext uri="{FF2B5EF4-FFF2-40B4-BE49-F238E27FC236}">
                <a16:creationId xmlns:a16="http://schemas.microsoft.com/office/drawing/2014/main" xmlns="" id="{842A0067-3169-482C-B65D-67968B3DDE4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9999" y="1979845"/>
            <a:ext cx="6120000" cy="892048"/>
          </a:xfrm>
        </p:spPr>
        <p:txBody>
          <a:bodyPr/>
          <a:lstStyle>
            <a:lvl1pPr>
              <a:lnSpc>
                <a:spcPct val="100000"/>
              </a:lnSpc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hange the title style</a:t>
            </a: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xmlns="" id="{0FF969D5-2109-449D-B01F-521B59A7535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59999" y="3199045"/>
            <a:ext cx="6120000" cy="89204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600" b="1" baseline="0">
                <a:solidFill>
                  <a:schemeClr val="bg1"/>
                </a:solidFill>
                <a:latin typeface="+mj-lt"/>
                <a:ea typeface="+mj-ea"/>
                <a:cs typeface="Tahoma" panose="020B0604030504040204" pitchFamily="34" charset="0"/>
              </a:defRPr>
            </a:lvl1pPr>
            <a:lvl2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2pPr>
            <a:lvl3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3pPr>
            <a:lvl4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4pPr>
            <a:lvl5pPr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5pPr>
            <a:lvl6pPr marL="457102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6pPr>
            <a:lvl7pPr marL="914205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7pPr>
            <a:lvl8pPr marL="1371306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8pPr>
            <a:lvl9pPr marL="1828409" algn="l" rtl="0" eaLnBrk="1" fontAlgn="base" hangingPunct="1">
              <a:lnSpc>
                <a:spcPts val="2799"/>
              </a:lnSpc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Tahoma" charset="0"/>
              </a:defRPr>
            </a:lvl9pPr>
          </a:lstStyle>
          <a:p>
            <a:endParaRPr lang="de-DE" sz="2000" b="0" kern="0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CC3F88D8-E28D-462D-B62A-5B3AF74E317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341576" y="5041034"/>
            <a:ext cx="704850" cy="1048111"/>
          </a:xfrm>
          <a:prstGeom prst="rect">
            <a:avLst/>
          </a:prstGeom>
        </p:spPr>
      </p:pic>
      <p:sp>
        <p:nvSpPr>
          <p:cNvPr id="20" name="Text Box 10">
            <a:extLst>
              <a:ext uri="{FF2B5EF4-FFF2-40B4-BE49-F238E27FC236}">
                <a16:creationId xmlns:a16="http://schemas.microsoft.com/office/drawing/2014/main" xmlns="" id="{DA7BF175-50EA-41D5-9B60-8A057FB83398}"/>
              </a:ext>
            </a:extLst>
          </p:cNvPr>
          <p:cNvSpPr txBox="1">
            <a:spLocks noChangeArrowheads="1"/>
          </p:cNvSpPr>
          <p:nvPr userDrawn="1"/>
        </p:nvSpPr>
        <p:spPr bwMode="black">
          <a:xfrm>
            <a:off x="7884002" y="6541573"/>
            <a:ext cx="900000" cy="102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algn="r">
              <a:lnSpc>
                <a:spcPts val="800"/>
              </a:lnSpc>
            </a:pPr>
            <a:r>
              <a:rPr lang="de-DE" sz="600" dirty="0">
                <a:solidFill>
                  <a:srgbClr val="860021"/>
                </a:solidFill>
                <a:latin typeface="Tahoma" panose="020B0604030504040204" pitchFamily="34" charset="0"/>
              </a:rPr>
              <a:t>© AB &amp; David Africa 2020</a:t>
            </a:r>
          </a:p>
        </p:txBody>
      </p:sp>
    </p:spTree>
    <p:extLst>
      <p:ext uri="{BB962C8B-B14F-4D97-AF65-F5344CB8AC3E}">
        <p14:creationId xmlns:p14="http://schemas.microsoft.com/office/powerpoint/2010/main" val="25853324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589292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9017675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9345004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A1A27E-2D1B-4FE4-81EB-4CD87C0BFC6B}" type="datetime1">
              <a:rPr lang="en-GB" smtClean="0"/>
              <a:t>25/1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© 2020 AB &amp; David – all rights reserved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‹#›</a:t>
            </a:fld>
            <a:endParaRPr lang="en-GB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8DA199C7-2BA7-4E6A-92C8-DA3209F5B1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12809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47" name="think-cell Slide" r:id="rId5" imgW="399" imgH="399" progId="TCLayout.ActiveDocument.1">
                  <p:embed/>
                </p:oleObj>
              </mc:Choice>
              <mc:Fallback>
                <p:oleObj name="think-cell Slide" r:id="rId5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7851CA35-D642-4DB7-A350-C3218482B3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baseline="0" dirty="0">
              <a:latin typeface="Palatino" panose="02020500000000000000" pitchFamily="18" charset="0"/>
              <a:ea typeface="+mj-ea"/>
              <a:cs typeface="Arial" panose="020B0604020202020204" pitchFamily="34" charset="0"/>
              <a:sym typeface="Palatino" panose="02020500000000000000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8314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10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vmlDrawing" Target="../drawings/vmlDrawing5.vml"/><Relationship Id="rId10" Type="http://schemas.openxmlformats.org/officeDocument/2006/relationships/slideLayout" Target="../slideLayouts/slideLayout1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Relationship Id="rId22" Type="http://schemas.openxmlformats.org/officeDocument/2006/relationships/image" Target="../media/image4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21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vmlDrawing" Target="../drawings/vmlDrawing8.vml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3.xml"/><Relationship Id="rId20" Type="http://schemas.openxmlformats.org/officeDocument/2006/relationships/oleObject" Target="../embeddings/oleObject8.bin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0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ags" Target="../tags/tag27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0.jpeg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26.xml"/><Relationship Id="rId2" Type="http://schemas.openxmlformats.org/officeDocument/2006/relationships/slideLayout" Target="../slideLayouts/slideLayout35.xml"/><Relationship Id="rId16" Type="http://schemas.openxmlformats.org/officeDocument/2006/relationships/vmlDrawing" Target="../drawings/vmlDrawing13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4.xml"/><Relationship Id="rId23" Type="http://schemas.openxmlformats.org/officeDocument/2006/relationships/image" Target="../media/image4.svg"/><Relationship Id="rId10" Type="http://schemas.openxmlformats.org/officeDocument/2006/relationships/slideLayout" Target="../slideLayouts/slideLayout43.xml"/><Relationship Id="rId19" Type="http://schemas.openxmlformats.org/officeDocument/2006/relationships/oleObject" Target="../embeddings/oleObject13.bin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8506208-1C3E-4A9C-A81B-46F49CBE6C88}"/>
              </a:ext>
            </a:extLst>
          </p:cNvPr>
          <p:cNvSpPr/>
          <p:nvPr userDrawn="1"/>
        </p:nvSpPr>
        <p:spPr>
          <a:xfrm flipV="1">
            <a:off x="1143" y="726434"/>
            <a:ext cx="9141714" cy="850392"/>
          </a:xfrm>
          <a:prstGeom prst="rect">
            <a:avLst/>
          </a:prstGeom>
          <a:solidFill>
            <a:srgbClr val="06419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013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4E9D1EC4-2DD2-44EF-9A56-46BE9F6B18FD}"/>
              </a:ext>
            </a:extLst>
          </p:cNvPr>
          <p:cNvSpPr/>
          <p:nvPr userDrawn="1"/>
        </p:nvSpPr>
        <p:spPr>
          <a:xfrm flipV="1">
            <a:off x="1143" y="6342926"/>
            <a:ext cx="9141714" cy="515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013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682EA2E2-B810-4824-BB7F-6DB764AA50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647304117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85" name="think-cell Slide" r:id="rId10" imgW="399" imgH="401" progId="TCLayout.ActiveDocument.1">
                  <p:embed/>
                </p:oleObj>
              </mc:Choice>
              <mc:Fallback>
                <p:oleObj name="think-cell Slide" r:id="rId10" imgW="399" imgH="40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682EA2E2-B810-4824-BB7F-6DB764AA50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xmlns="" id="{B8CE5F91-43BF-47D8-B720-E2438600D895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baseline="0" dirty="0">
              <a:latin typeface="Palatino" panose="02020500000000000000" pitchFamily="18" charset="0"/>
              <a:ea typeface="+mj-ea"/>
              <a:cs typeface="Arial" panose="020B0604020202020204" pitchFamily="34" charset="0"/>
              <a:sym typeface="Palatino" panose="02020500000000000000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7222"/>
            <a:ext cx="7886700" cy="4256082"/>
          </a:xfrm>
          <a:prstGeom prst="rect">
            <a:avLst/>
          </a:prstGeom>
          <a:noFill/>
        </p:spPr>
        <p:txBody>
          <a:bodyPr vert="horz" lIns="91440" tIns="1371600" rIns="91440" bIns="45720" rtlCol="0">
            <a:normAutofit/>
          </a:bodyPr>
          <a:lstStyle/>
          <a:p>
            <a:pPr lvl="0"/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41790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 b="1">
                <a:solidFill>
                  <a:schemeClr val="tx2"/>
                </a:solidFill>
              </a:defRPr>
            </a:lvl1pPr>
          </a:lstStyle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41790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88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© AB &amp; David Africa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41790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1">
                <a:solidFill>
                  <a:schemeClr val="tx2"/>
                </a:solidFill>
              </a:defRPr>
            </a:lvl1pPr>
          </a:lstStyle>
          <a:p>
            <a:r>
              <a:rPr lang="en-GB"/>
              <a:t>1</a:t>
            </a:r>
            <a:endParaRPr lang="en-GB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55553F8F-6CCF-4A19-849B-F4734F8EF2EA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15" y="166398"/>
            <a:ext cx="1183930" cy="4589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759897"/>
            <a:ext cx="7886700" cy="81394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047A5D89-E27D-47CE-A055-F5592033255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8555355" y="896698"/>
            <a:ext cx="409479" cy="60889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8E6C14EF-F177-4FC6-B1A5-52AAC4CB4FDF}"/>
              </a:ext>
            </a:extLst>
          </p:cNvPr>
          <p:cNvSpPr/>
          <p:nvPr userDrawn="1"/>
        </p:nvSpPr>
        <p:spPr>
          <a:xfrm rot="10800000" flipV="1">
            <a:off x="1143" y="726434"/>
            <a:ext cx="9141714" cy="79678"/>
          </a:xfrm>
          <a:prstGeom prst="rect">
            <a:avLst/>
          </a:prstGeom>
          <a:solidFill>
            <a:srgbClr val="86002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013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xmlns="" id="{0F071757-DFDB-4E56-B748-C42815BAE0EE}"/>
              </a:ext>
            </a:extLst>
          </p:cNvPr>
          <p:cNvGrpSpPr/>
          <p:nvPr userDrawn="1"/>
        </p:nvGrpSpPr>
        <p:grpSpPr>
          <a:xfrm>
            <a:off x="-412909" y="-271463"/>
            <a:ext cx="9763529" cy="7439025"/>
            <a:chOff x="-550545" y="-271463"/>
            <a:chExt cx="13018038" cy="7439025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xmlns="" id="{6CFECB5A-46A7-428A-98AB-DB197872C818}"/>
                </a:ext>
              </a:extLst>
            </p:cNvPr>
            <p:cNvGrpSpPr/>
            <p:nvPr userDrawn="1"/>
          </p:nvGrpSpPr>
          <p:grpSpPr>
            <a:xfrm>
              <a:off x="12276993" y="726434"/>
              <a:ext cx="190500" cy="6131564"/>
              <a:chOff x="12276993" y="726434"/>
              <a:chExt cx="190500" cy="6131564"/>
            </a:xfrm>
          </p:grpSpPr>
          <p:cxnSp>
            <p:nvCxnSpPr>
              <p:cNvPr id="42" name="Gerade Verbindung 20">
                <a:extLst>
                  <a:ext uri="{FF2B5EF4-FFF2-40B4-BE49-F238E27FC236}">
                    <a16:creationId xmlns:a16="http://schemas.microsoft.com/office/drawing/2014/main" xmlns="" id="{7204502D-6ED1-4884-9A4A-F372B08508A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726434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21">
                <a:extLst>
                  <a:ext uri="{FF2B5EF4-FFF2-40B4-BE49-F238E27FC236}">
                    <a16:creationId xmlns:a16="http://schemas.microsoft.com/office/drawing/2014/main" xmlns="" id="{4D92796D-86BF-4216-BD2F-5D3857716B6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15768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22">
                <a:extLst>
                  <a:ext uri="{FF2B5EF4-FFF2-40B4-BE49-F238E27FC236}">
                    <a16:creationId xmlns:a16="http://schemas.microsoft.com/office/drawing/2014/main" xmlns="" id="{FB3DDE13-8EB9-465D-A8B1-9987AF774413}"/>
                  </a:ext>
                </a:extLst>
              </p:cNvPr>
              <p:cNvCxnSpPr/>
              <p:nvPr/>
            </p:nvCxnSpPr>
            <p:spPr bwMode="gray">
              <a:xfrm flipH="1">
                <a:off x="12276993" y="180816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23">
                <a:extLst>
                  <a:ext uri="{FF2B5EF4-FFF2-40B4-BE49-F238E27FC236}">
                    <a16:creationId xmlns:a16="http://schemas.microsoft.com/office/drawing/2014/main" xmlns="" id="{D67C25AD-36DD-48A0-B0A7-DE84D01F144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63429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24">
                <a:extLst>
                  <a:ext uri="{FF2B5EF4-FFF2-40B4-BE49-F238E27FC236}">
                    <a16:creationId xmlns:a16="http://schemas.microsoft.com/office/drawing/2014/main" xmlns="" id="{B907C943-CD78-41BF-93AB-F10C25D734A9}"/>
                  </a:ext>
                </a:extLst>
              </p:cNvPr>
              <p:cNvCxnSpPr/>
              <p:nvPr/>
            </p:nvCxnSpPr>
            <p:spPr bwMode="gray">
              <a:xfrm flipH="1">
                <a:off x="12276993" y="685799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A7852B21-BC1B-41D2-B5DC-B5947266DD74}"/>
                </a:ext>
              </a:extLst>
            </p:cNvPr>
            <p:cNvGrpSpPr/>
            <p:nvPr userDrawn="1"/>
          </p:nvGrpSpPr>
          <p:grpSpPr>
            <a:xfrm>
              <a:off x="838200" y="-271463"/>
              <a:ext cx="10515600" cy="190500"/>
              <a:chOff x="838200" y="-271463"/>
              <a:chExt cx="10515600" cy="190500"/>
            </a:xfrm>
          </p:grpSpPr>
          <p:cxnSp>
            <p:nvCxnSpPr>
              <p:cNvPr id="24" name="Gerade Verbindung 25">
                <a:extLst>
                  <a:ext uri="{FF2B5EF4-FFF2-40B4-BE49-F238E27FC236}">
                    <a16:creationId xmlns:a16="http://schemas.microsoft.com/office/drawing/2014/main" xmlns="" id="{CDCF98E2-366B-4E18-A37F-380DD06CE40B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742950" y="-17621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8">
                <a:extLst>
                  <a:ext uri="{FF2B5EF4-FFF2-40B4-BE49-F238E27FC236}">
                    <a16:creationId xmlns:a16="http://schemas.microsoft.com/office/drawing/2014/main" xmlns="" id="{049DF97A-6EBC-4619-820F-B785C652C75A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11258550" y="-17621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Gruppieren 8">
              <a:extLst>
                <a:ext uri="{FF2B5EF4-FFF2-40B4-BE49-F238E27FC236}">
                  <a16:creationId xmlns:a16="http://schemas.microsoft.com/office/drawing/2014/main" xmlns="" id="{996366FE-EF73-491C-9BEE-AC491005DD7E}"/>
                </a:ext>
              </a:extLst>
            </p:cNvPr>
            <p:cNvGrpSpPr/>
            <p:nvPr userDrawn="1"/>
          </p:nvGrpSpPr>
          <p:grpSpPr>
            <a:xfrm>
              <a:off x="5951751" y="-271463"/>
              <a:ext cx="288498" cy="7439025"/>
              <a:chOff x="4810125" y="-271463"/>
              <a:chExt cx="288498" cy="7439025"/>
            </a:xfrm>
          </p:grpSpPr>
          <p:grpSp>
            <p:nvGrpSpPr>
              <p:cNvPr id="35" name="Gruppieren 5">
                <a:extLst>
                  <a:ext uri="{FF2B5EF4-FFF2-40B4-BE49-F238E27FC236}">
                    <a16:creationId xmlns:a16="http://schemas.microsoft.com/office/drawing/2014/main" xmlns="" id="{4FD2E156-CE7C-4D5C-AD85-B7B790C9566C}"/>
                  </a:ext>
                </a:extLst>
              </p:cNvPr>
              <p:cNvGrpSpPr/>
              <p:nvPr userDrawn="1"/>
            </p:nvGrpSpPr>
            <p:grpSpPr>
              <a:xfrm>
                <a:off x="4810125" y="-271463"/>
                <a:ext cx="285750" cy="190500"/>
                <a:chOff x="4810125" y="-271463"/>
                <a:chExt cx="285750" cy="190500"/>
              </a:xfrm>
            </p:grpSpPr>
            <p:cxnSp>
              <p:nvCxnSpPr>
                <p:cNvPr id="39" name="Gerade Verbindung 26">
                  <a:extLst>
                    <a:ext uri="{FF2B5EF4-FFF2-40B4-BE49-F238E27FC236}">
                      <a16:creationId xmlns:a16="http://schemas.microsoft.com/office/drawing/2014/main" xmlns="" id="{F830C1AA-E0F0-461A-A364-5B38612F0D8F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4714875" y="-176213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0" name="Gerade Verbindung 27">
                  <a:extLst>
                    <a:ext uri="{FF2B5EF4-FFF2-40B4-BE49-F238E27FC236}">
                      <a16:creationId xmlns:a16="http://schemas.microsoft.com/office/drawing/2014/main" xmlns="" id="{B4C9E88E-86C6-4EB0-A2BD-244A80B97550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5000625" y="-176213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" name="Gruppieren 6">
                <a:extLst>
                  <a:ext uri="{FF2B5EF4-FFF2-40B4-BE49-F238E27FC236}">
                    <a16:creationId xmlns:a16="http://schemas.microsoft.com/office/drawing/2014/main" xmlns="" id="{6243FE75-0904-4B6D-A7CC-D8597009874C}"/>
                  </a:ext>
                </a:extLst>
              </p:cNvPr>
              <p:cNvGrpSpPr/>
              <p:nvPr userDrawn="1"/>
            </p:nvGrpSpPr>
            <p:grpSpPr>
              <a:xfrm>
                <a:off x="4810125" y="6977062"/>
                <a:ext cx="288498" cy="190500"/>
                <a:chOff x="4810125" y="6977062"/>
                <a:chExt cx="288498" cy="190500"/>
              </a:xfrm>
            </p:grpSpPr>
            <p:cxnSp>
              <p:nvCxnSpPr>
                <p:cNvPr id="37" name="Gerade Verbindung 30">
                  <a:extLst>
                    <a:ext uri="{FF2B5EF4-FFF2-40B4-BE49-F238E27FC236}">
                      <a16:creationId xmlns:a16="http://schemas.microsoft.com/office/drawing/2014/main" xmlns="" id="{8B940F26-F3C8-43C4-B8C5-60953DBFD17A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4714875" y="7072312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Gerade Verbindung 31">
                  <a:extLst>
                    <a:ext uri="{FF2B5EF4-FFF2-40B4-BE49-F238E27FC236}">
                      <a16:creationId xmlns:a16="http://schemas.microsoft.com/office/drawing/2014/main" xmlns="" id="{239831C2-DAC6-4E29-8AF1-1C3C1A3B1F9E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5003373" y="7072312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xmlns="" id="{18CA1891-B0BF-4627-9030-A9907B79A9D1}"/>
                </a:ext>
              </a:extLst>
            </p:cNvPr>
            <p:cNvGrpSpPr/>
            <p:nvPr userDrawn="1"/>
          </p:nvGrpSpPr>
          <p:grpSpPr>
            <a:xfrm>
              <a:off x="838201" y="6977062"/>
              <a:ext cx="10515601" cy="190500"/>
              <a:chOff x="838201" y="6977062"/>
              <a:chExt cx="10515601" cy="190500"/>
            </a:xfrm>
          </p:grpSpPr>
          <p:cxnSp>
            <p:nvCxnSpPr>
              <p:cNvPr id="26" name="Gerade Verbindung 29">
                <a:extLst>
                  <a:ext uri="{FF2B5EF4-FFF2-40B4-BE49-F238E27FC236}">
                    <a16:creationId xmlns:a16="http://schemas.microsoft.com/office/drawing/2014/main" xmlns="" id="{81C36DF6-64F8-411D-A77B-FC55B5826531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742951" y="7072312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32">
                <a:extLst>
                  <a:ext uri="{FF2B5EF4-FFF2-40B4-BE49-F238E27FC236}">
                    <a16:creationId xmlns:a16="http://schemas.microsoft.com/office/drawing/2014/main" xmlns="" id="{62D14ACB-3841-4560-9930-6A3E27BAD716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11258552" y="7072312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0BE302E1-14E5-4082-85B2-AB8428BD05D7}"/>
                </a:ext>
              </a:extLst>
            </p:cNvPr>
            <p:cNvGrpSpPr/>
            <p:nvPr userDrawn="1"/>
          </p:nvGrpSpPr>
          <p:grpSpPr>
            <a:xfrm>
              <a:off x="-550545" y="726434"/>
              <a:ext cx="466406" cy="6131564"/>
              <a:chOff x="-550545" y="726434"/>
              <a:chExt cx="466406" cy="6131564"/>
            </a:xfrm>
          </p:grpSpPr>
          <p:cxnSp>
            <p:nvCxnSpPr>
              <p:cNvPr id="16" name="Gerade Verbindung 15">
                <a:extLst>
                  <a:ext uri="{FF2B5EF4-FFF2-40B4-BE49-F238E27FC236}">
                    <a16:creationId xmlns:a16="http://schemas.microsoft.com/office/drawing/2014/main" xmlns="" id="{645A59F1-0D9B-439C-B040-86EA106B41F2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726434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16">
                <a:extLst>
                  <a:ext uri="{FF2B5EF4-FFF2-40B4-BE49-F238E27FC236}">
                    <a16:creationId xmlns:a16="http://schemas.microsoft.com/office/drawing/2014/main" xmlns="" id="{B6C2BF50-FBE1-4892-9761-2D81D6A12981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15768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17">
                <a:extLst>
                  <a:ext uri="{FF2B5EF4-FFF2-40B4-BE49-F238E27FC236}">
                    <a16:creationId xmlns:a16="http://schemas.microsoft.com/office/drawing/2014/main" xmlns="" id="{DEF0C1AD-0B30-4985-94EF-AC1F835FBDD1}"/>
                  </a:ext>
                </a:extLst>
              </p:cNvPr>
              <p:cNvCxnSpPr/>
              <p:nvPr userDrawn="1"/>
            </p:nvCxnSpPr>
            <p:spPr bwMode="gray">
              <a:xfrm flipH="1">
                <a:off x="-274639" y="180816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18">
                <a:extLst>
                  <a:ext uri="{FF2B5EF4-FFF2-40B4-BE49-F238E27FC236}">
                    <a16:creationId xmlns:a16="http://schemas.microsoft.com/office/drawing/2014/main" xmlns="" id="{C241CD4B-A696-4224-B0E9-76BD2E8E76B9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630713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19">
                <a:extLst>
                  <a:ext uri="{FF2B5EF4-FFF2-40B4-BE49-F238E27FC236}">
                    <a16:creationId xmlns:a16="http://schemas.microsoft.com/office/drawing/2014/main" xmlns="" id="{1AA90D6A-353F-4DC2-A0D7-1BCDB14BF5FA}"/>
                  </a:ext>
                </a:extLst>
              </p:cNvPr>
              <p:cNvCxnSpPr/>
              <p:nvPr userDrawn="1"/>
            </p:nvCxnSpPr>
            <p:spPr bwMode="gray">
              <a:xfrm flipH="1">
                <a:off x="-274639" y="685799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Runde Klammer links 85">
                <a:extLst>
                  <a:ext uri="{FF2B5EF4-FFF2-40B4-BE49-F238E27FC236}">
                    <a16:creationId xmlns:a16="http://schemas.microsoft.com/office/drawing/2014/main" xmlns="" id="{8DE9284E-F85C-4035-999D-31F3C4B9717B}"/>
                  </a:ext>
                </a:extLst>
              </p:cNvPr>
              <p:cNvSpPr/>
              <p:nvPr userDrawn="1"/>
            </p:nvSpPr>
            <p:spPr bwMode="gray">
              <a:xfrm>
                <a:off x="-550545" y="726434"/>
                <a:ext cx="203200" cy="850392"/>
              </a:xfrm>
              <a:prstGeom prst="leftBracket">
                <a:avLst>
                  <a:gd name="adj" fmla="val 0"/>
                </a:avLst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1">
                  <a:lnSpc>
                    <a:spcPct val="100000"/>
                  </a:lnSpc>
                </a:pPr>
                <a:endParaRPr lang="en-US" sz="1350" dirty="0"/>
              </a:p>
            </p:txBody>
          </p:sp>
          <p:sp>
            <p:nvSpPr>
              <p:cNvPr id="30" name="Runde Klammer links 86">
                <a:extLst>
                  <a:ext uri="{FF2B5EF4-FFF2-40B4-BE49-F238E27FC236}">
                    <a16:creationId xmlns:a16="http://schemas.microsoft.com/office/drawing/2014/main" xmlns="" id="{D2504804-4326-4EED-855B-E241B66DF3E5}"/>
                  </a:ext>
                </a:extLst>
              </p:cNvPr>
              <p:cNvSpPr/>
              <p:nvPr userDrawn="1"/>
            </p:nvSpPr>
            <p:spPr bwMode="gray">
              <a:xfrm>
                <a:off x="-550545" y="6342926"/>
                <a:ext cx="205740" cy="515072"/>
              </a:xfrm>
              <a:prstGeom prst="leftBracket">
                <a:avLst>
                  <a:gd name="adj" fmla="val 0"/>
                </a:avLst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1">
                  <a:lnSpc>
                    <a:spcPct val="100000"/>
                  </a:lnSpc>
                </a:pPr>
                <a:endParaRPr lang="en-US" sz="1350" dirty="0"/>
              </a:p>
            </p:txBody>
          </p:sp>
          <p:sp>
            <p:nvSpPr>
              <p:cNvPr id="31" name="Textplatzhalter 11">
                <a:extLst>
                  <a:ext uri="{FF2B5EF4-FFF2-40B4-BE49-F238E27FC236}">
                    <a16:creationId xmlns:a16="http://schemas.microsoft.com/office/drawing/2014/main" xmlns="" id="{FA80BB09-29E7-472B-A2E5-1DCC6E52978A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814763" y="1090076"/>
                <a:ext cx="723900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 dirty="0">
                    <a:solidFill>
                      <a:schemeClr val="bg1"/>
                    </a:solidFill>
                  </a:rPr>
                  <a:t>Headline</a:t>
                </a:r>
              </a:p>
            </p:txBody>
          </p:sp>
          <p:sp>
            <p:nvSpPr>
              <p:cNvPr id="32" name="Textplatzhalter 11">
                <a:extLst>
                  <a:ext uri="{FF2B5EF4-FFF2-40B4-BE49-F238E27FC236}">
                    <a16:creationId xmlns:a16="http://schemas.microsoft.com/office/drawing/2014/main" xmlns="" id="{0EDA8CB0-F629-48AF-B7FF-0731E2814B7B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814763" y="3996095"/>
                <a:ext cx="723900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 dirty="0">
                    <a:solidFill>
                      <a:schemeClr val="bg1"/>
                    </a:solidFill>
                  </a:rPr>
                  <a:t>Content</a:t>
                </a:r>
              </a:p>
            </p:txBody>
          </p:sp>
          <p:sp>
            <p:nvSpPr>
              <p:cNvPr id="33" name="Textplatzhalter 11">
                <a:extLst>
                  <a:ext uri="{FF2B5EF4-FFF2-40B4-BE49-F238E27FC236}">
                    <a16:creationId xmlns:a16="http://schemas.microsoft.com/office/drawing/2014/main" xmlns="" id="{6C155C92-9D3B-4C78-9A36-A0E486E1132B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564198" y="6538908"/>
                <a:ext cx="339725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 dirty="0">
                    <a:solidFill>
                      <a:schemeClr val="bg1"/>
                    </a:solidFill>
                  </a:rPr>
                  <a:t>Foot-note</a:t>
                </a:r>
              </a:p>
            </p:txBody>
          </p:sp>
          <p:sp>
            <p:nvSpPr>
              <p:cNvPr id="34" name="Freihandform 90">
                <a:extLst>
                  <a:ext uri="{FF2B5EF4-FFF2-40B4-BE49-F238E27FC236}">
                    <a16:creationId xmlns:a16="http://schemas.microsoft.com/office/drawing/2014/main" xmlns="" id="{0C054B25-1E76-42B5-96AC-C98D7AB83E4A}"/>
                  </a:ext>
                </a:extLst>
              </p:cNvPr>
              <p:cNvSpPr/>
              <p:nvPr userDrawn="1"/>
            </p:nvSpPr>
            <p:spPr>
              <a:xfrm>
                <a:off x="-550545" y="1808163"/>
                <a:ext cx="203200" cy="4498972"/>
              </a:xfrm>
              <a:custGeom>
                <a:avLst/>
                <a:gdLst>
                  <a:gd name="connsiteX0" fmla="*/ 0 w 275906"/>
                  <a:gd name="connsiteY0" fmla="*/ 0 h 4371974"/>
                  <a:gd name="connsiteX1" fmla="*/ 275906 w 275906"/>
                  <a:gd name="connsiteY1" fmla="*/ 0 h 4371974"/>
                  <a:gd name="connsiteX2" fmla="*/ 275906 w 275906"/>
                  <a:gd name="connsiteY2" fmla="*/ 4371974 h 4371974"/>
                  <a:gd name="connsiteX3" fmla="*/ 0 w 275906"/>
                  <a:gd name="connsiteY3" fmla="*/ 4371974 h 4371974"/>
                  <a:gd name="connsiteX0" fmla="*/ 0 w 275906"/>
                  <a:gd name="connsiteY0" fmla="*/ 0 h 4371974"/>
                  <a:gd name="connsiteX1" fmla="*/ 275906 w 275906"/>
                  <a:gd name="connsiteY1" fmla="*/ 0 h 4371974"/>
                  <a:gd name="connsiteX2" fmla="*/ 274320 w 275906"/>
                  <a:gd name="connsiteY2" fmla="*/ 1981199 h 4371974"/>
                  <a:gd name="connsiteX3" fmla="*/ 275906 w 275906"/>
                  <a:gd name="connsiteY3" fmla="*/ 4371974 h 4371974"/>
                  <a:gd name="connsiteX4" fmla="*/ 0 w 275906"/>
                  <a:gd name="connsiteY4" fmla="*/ 4371974 h 4371974"/>
                  <a:gd name="connsiteX5" fmla="*/ 0 w 275906"/>
                  <a:gd name="connsiteY5" fmla="*/ 0 h 4371974"/>
                  <a:gd name="connsiteX0" fmla="*/ 274320 w 365760"/>
                  <a:gd name="connsiteY0" fmla="*/ 1981199 h 4371974"/>
                  <a:gd name="connsiteX1" fmla="*/ 275906 w 365760"/>
                  <a:gd name="connsiteY1" fmla="*/ 4371974 h 4371974"/>
                  <a:gd name="connsiteX2" fmla="*/ 0 w 365760"/>
                  <a:gd name="connsiteY2" fmla="*/ 4371974 h 4371974"/>
                  <a:gd name="connsiteX3" fmla="*/ 0 w 365760"/>
                  <a:gd name="connsiteY3" fmla="*/ 0 h 4371974"/>
                  <a:gd name="connsiteX4" fmla="*/ 275906 w 365760"/>
                  <a:gd name="connsiteY4" fmla="*/ 0 h 4371974"/>
                  <a:gd name="connsiteX5" fmla="*/ 365760 w 365760"/>
                  <a:gd name="connsiteY5" fmla="*/ 2072639 h 4371974"/>
                  <a:gd name="connsiteX0" fmla="*/ 274320 w 275906"/>
                  <a:gd name="connsiteY0" fmla="*/ 1981199 h 4371974"/>
                  <a:gd name="connsiteX1" fmla="*/ 275906 w 275906"/>
                  <a:gd name="connsiteY1" fmla="*/ 4371974 h 4371974"/>
                  <a:gd name="connsiteX2" fmla="*/ 0 w 275906"/>
                  <a:gd name="connsiteY2" fmla="*/ 4371974 h 4371974"/>
                  <a:gd name="connsiteX3" fmla="*/ 0 w 275906"/>
                  <a:gd name="connsiteY3" fmla="*/ 0 h 4371974"/>
                  <a:gd name="connsiteX4" fmla="*/ 275906 w 275906"/>
                  <a:gd name="connsiteY4" fmla="*/ 0 h 4371974"/>
                  <a:gd name="connsiteX0" fmla="*/ 275906 w 275906"/>
                  <a:gd name="connsiteY0" fmla="*/ 4371974 h 4371974"/>
                  <a:gd name="connsiteX1" fmla="*/ 0 w 275906"/>
                  <a:gd name="connsiteY1" fmla="*/ 4371974 h 4371974"/>
                  <a:gd name="connsiteX2" fmla="*/ 0 w 275906"/>
                  <a:gd name="connsiteY2" fmla="*/ 0 h 4371974"/>
                  <a:gd name="connsiteX3" fmla="*/ 275906 w 275906"/>
                  <a:gd name="connsiteY3" fmla="*/ 0 h 4371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5906" h="4371974">
                    <a:moveTo>
                      <a:pt x="275906" y="4371974"/>
                    </a:moveTo>
                    <a:lnTo>
                      <a:pt x="0" y="4371974"/>
                    </a:lnTo>
                    <a:lnTo>
                      <a:pt x="0" y="0"/>
                    </a:lnTo>
                    <a:lnTo>
                      <a:pt x="275906" y="0"/>
                    </a:lnTo>
                  </a:path>
                </a:pathLst>
              </a:cu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1">
                  <a:lnSpc>
                    <a:spcPct val="100000"/>
                  </a:lnSpc>
                </a:pPr>
                <a:endParaRPr lang="en-US" sz="75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cxnSp>
            <p:nvCxnSpPr>
              <p:cNvPr id="47" name="Gerade Verbindung 18">
                <a:extLst>
                  <a:ext uri="{FF2B5EF4-FFF2-40B4-BE49-F238E27FC236}">
                    <a16:creationId xmlns:a16="http://schemas.microsoft.com/office/drawing/2014/main" xmlns="" id="{D63D4B35-BEA0-409D-AB7F-C0650847CDAA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63429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504195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37" r:id="rId3"/>
    <p:sldLayoutId id="2147483739" r:id="rId4"/>
    <p:sldLayoutId id="2147483746" r:id="rId5"/>
  </p:sldLayoutIdLst>
  <p:hf hdr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bg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88" userDrawn="1">
          <p15:clr>
            <a:srgbClr val="F26B43"/>
          </p15:clr>
        </p15:guide>
        <p15:guide id="2" pos="2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BAFDFA-8ABA-43B3-9D6E-201A36089ECF}" type="datetime1">
              <a:rPr lang="en-GB" smtClean="0"/>
              <a:pPr/>
              <a:t>25/1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© AB &amp; David Africa 2020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1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8506208-1C3E-4A9C-A81B-46F49CBE6C88}"/>
              </a:ext>
            </a:extLst>
          </p:cNvPr>
          <p:cNvSpPr/>
          <p:nvPr userDrawn="1"/>
        </p:nvSpPr>
        <p:spPr>
          <a:xfrm flipV="1">
            <a:off x="1143" y="726434"/>
            <a:ext cx="9141714" cy="850392"/>
          </a:xfrm>
          <a:prstGeom prst="rect">
            <a:avLst/>
          </a:prstGeom>
          <a:solidFill>
            <a:srgbClr val="06419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013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E9D1EC4-2DD2-44EF-9A56-46BE9F6B18FD}"/>
              </a:ext>
            </a:extLst>
          </p:cNvPr>
          <p:cNvSpPr/>
          <p:nvPr userDrawn="1"/>
        </p:nvSpPr>
        <p:spPr>
          <a:xfrm flipV="1">
            <a:off x="1143" y="6342926"/>
            <a:ext cx="9141714" cy="515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013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82EA2E2-B810-4824-BB7F-6DB764AA50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47304117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25" name="think-cell Slide" r:id="rId18" imgW="399" imgH="401" progId="TCLayout.ActiveDocument.1">
                  <p:embed/>
                </p:oleObj>
              </mc:Choice>
              <mc:Fallback>
                <p:oleObj name="think-cell Slide" r:id="rId18" imgW="399" imgH="40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B8CE5F91-43BF-47D8-B720-E2438600D895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800" b="1" i="0" baseline="0" dirty="0">
              <a:latin typeface="Palatino" panose="02020500000000000000" pitchFamily="18" charset="0"/>
              <a:ea typeface="+mj-ea"/>
              <a:cs typeface="Arial" panose="020B0604020202020204" pitchFamily="34" charset="0"/>
              <a:sym typeface="Palatino" panose="02020500000000000000" pitchFamily="18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55553F8F-6CCF-4A19-849B-F4734F8EF2EA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15" y="166398"/>
            <a:ext cx="1183930" cy="458946"/>
          </a:xfrm>
          <a:prstGeom prst="rect">
            <a:avLst/>
          </a:prstGeom>
        </p:spPr>
      </p:pic>
      <p:pic>
        <p:nvPicPr>
          <p:cNvPr id="12" name="Graphic 12">
            <a:extLst>
              <a:ext uri="{FF2B5EF4-FFF2-40B4-BE49-F238E27FC236}">
                <a16:creationId xmlns:a16="http://schemas.microsoft.com/office/drawing/2014/main" xmlns="" id="{047A5D89-E27D-47CE-A055-F5592033255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8555355" y="896698"/>
            <a:ext cx="409479" cy="60889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8E6C14EF-F177-4FC6-B1A5-52AAC4CB4FDF}"/>
              </a:ext>
            </a:extLst>
          </p:cNvPr>
          <p:cNvSpPr/>
          <p:nvPr userDrawn="1"/>
        </p:nvSpPr>
        <p:spPr>
          <a:xfrm rot="10800000" flipV="1">
            <a:off x="1143" y="726434"/>
            <a:ext cx="9141714" cy="79678"/>
          </a:xfrm>
          <a:prstGeom prst="rect">
            <a:avLst/>
          </a:prstGeom>
          <a:solidFill>
            <a:srgbClr val="86002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013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0F071757-DFDB-4E56-B748-C42815BAE0EE}"/>
              </a:ext>
            </a:extLst>
          </p:cNvPr>
          <p:cNvGrpSpPr/>
          <p:nvPr userDrawn="1"/>
        </p:nvGrpSpPr>
        <p:grpSpPr>
          <a:xfrm>
            <a:off x="-412909" y="-271463"/>
            <a:ext cx="9763529" cy="7439025"/>
            <a:chOff x="-550545" y="-271463"/>
            <a:chExt cx="13018038" cy="743902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xmlns="" id="{6CFECB5A-46A7-428A-98AB-DB197872C818}"/>
                </a:ext>
              </a:extLst>
            </p:cNvPr>
            <p:cNvGrpSpPr/>
            <p:nvPr userDrawn="1"/>
          </p:nvGrpSpPr>
          <p:grpSpPr>
            <a:xfrm>
              <a:off x="12276993" y="726434"/>
              <a:ext cx="190500" cy="6131564"/>
              <a:chOff x="12276993" y="726434"/>
              <a:chExt cx="190500" cy="6131564"/>
            </a:xfrm>
          </p:grpSpPr>
          <p:cxnSp>
            <p:nvCxnSpPr>
              <p:cNvPr id="42" name="Gerade Verbindung 20">
                <a:extLst>
                  <a:ext uri="{FF2B5EF4-FFF2-40B4-BE49-F238E27FC236}">
                    <a16:creationId xmlns:a16="http://schemas.microsoft.com/office/drawing/2014/main" xmlns="" id="{7204502D-6ED1-4884-9A4A-F372B08508A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726434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21">
                <a:extLst>
                  <a:ext uri="{FF2B5EF4-FFF2-40B4-BE49-F238E27FC236}">
                    <a16:creationId xmlns:a16="http://schemas.microsoft.com/office/drawing/2014/main" xmlns="" id="{4D92796D-86BF-4216-BD2F-5D3857716B6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15768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22">
                <a:extLst>
                  <a:ext uri="{FF2B5EF4-FFF2-40B4-BE49-F238E27FC236}">
                    <a16:creationId xmlns:a16="http://schemas.microsoft.com/office/drawing/2014/main" xmlns="" id="{FB3DDE13-8EB9-465D-A8B1-9987AF774413}"/>
                  </a:ext>
                </a:extLst>
              </p:cNvPr>
              <p:cNvCxnSpPr/>
              <p:nvPr/>
            </p:nvCxnSpPr>
            <p:spPr bwMode="gray">
              <a:xfrm flipH="1">
                <a:off x="12276993" y="180816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23">
                <a:extLst>
                  <a:ext uri="{FF2B5EF4-FFF2-40B4-BE49-F238E27FC236}">
                    <a16:creationId xmlns:a16="http://schemas.microsoft.com/office/drawing/2014/main" xmlns="" id="{D67C25AD-36DD-48A0-B0A7-DE84D01F144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63429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24">
                <a:extLst>
                  <a:ext uri="{FF2B5EF4-FFF2-40B4-BE49-F238E27FC236}">
                    <a16:creationId xmlns:a16="http://schemas.microsoft.com/office/drawing/2014/main" xmlns="" id="{B907C943-CD78-41BF-93AB-F10C25D734A9}"/>
                  </a:ext>
                </a:extLst>
              </p:cNvPr>
              <p:cNvCxnSpPr/>
              <p:nvPr/>
            </p:nvCxnSpPr>
            <p:spPr bwMode="gray">
              <a:xfrm flipH="1">
                <a:off x="12276993" y="685799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xmlns="" id="{A7852B21-BC1B-41D2-B5DC-B5947266DD74}"/>
                </a:ext>
              </a:extLst>
            </p:cNvPr>
            <p:cNvGrpSpPr/>
            <p:nvPr userDrawn="1"/>
          </p:nvGrpSpPr>
          <p:grpSpPr>
            <a:xfrm>
              <a:off x="838200" y="-271463"/>
              <a:ext cx="10515600" cy="190500"/>
              <a:chOff x="838200" y="-271463"/>
              <a:chExt cx="10515600" cy="190500"/>
            </a:xfrm>
          </p:grpSpPr>
          <p:cxnSp>
            <p:nvCxnSpPr>
              <p:cNvPr id="40" name="Gerade Verbindung 25">
                <a:extLst>
                  <a:ext uri="{FF2B5EF4-FFF2-40B4-BE49-F238E27FC236}">
                    <a16:creationId xmlns:a16="http://schemas.microsoft.com/office/drawing/2014/main" xmlns="" id="{CDCF98E2-366B-4E18-A37F-380DD06CE40B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742950" y="-17621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28">
                <a:extLst>
                  <a:ext uri="{FF2B5EF4-FFF2-40B4-BE49-F238E27FC236}">
                    <a16:creationId xmlns:a16="http://schemas.microsoft.com/office/drawing/2014/main" xmlns="" id="{049DF97A-6EBC-4619-820F-B785C652C75A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11258550" y="-17621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xmlns="" id="{996366FE-EF73-491C-9BEE-AC491005DD7E}"/>
                </a:ext>
              </a:extLst>
            </p:cNvPr>
            <p:cNvGrpSpPr/>
            <p:nvPr userDrawn="1"/>
          </p:nvGrpSpPr>
          <p:grpSpPr>
            <a:xfrm>
              <a:off x="5951751" y="-271463"/>
              <a:ext cx="288498" cy="7439025"/>
              <a:chOff x="4810125" y="-271463"/>
              <a:chExt cx="288498" cy="7439025"/>
            </a:xfrm>
          </p:grpSpPr>
          <p:grpSp>
            <p:nvGrpSpPr>
              <p:cNvPr id="34" name="Gruppieren 5">
                <a:extLst>
                  <a:ext uri="{FF2B5EF4-FFF2-40B4-BE49-F238E27FC236}">
                    <a16:creationId xmlns:a16="http://schemas.microsoft.com/office/drawing/2014/main" xmlns="" id="{4FD2E156-CE7C-4D5C-AD85-B7B790C9566C}"/>
                  </a:ext>
                </a:extLst>
              </p:cNvPr>
              <p:cNvGrpSpPr/>
              <p:nvPr userDrawn="1"/>
            </p:nvGrpSpPr>
            <p:grpSpPr>
              <a:xfrm>
                <a:off x="4810125" y="-271463"/>
                <a:ext cx="285750" cy="190500"/>
                <a:chOff x="4810125" y="-271463"/>
                <a:chExt cx="285750" cy="190500"/>
              </a:xfrm>
            </p:grpSpPr>
            <p:cxnSp>
              <p:nvCxnSpPr>
                <p:cNvPr id="38" name="Gerade Verbindung 26">
                  <a:extLst>
                    <a:ext uri="{FF2B5EF4-FFF2-40B4-BE49-F238E27FC236}">
                      <a16:creationId xmlns:a16="http://schemas.microsoft.com/office/drawing/2014/main" xmlns="" id="{F830C1AA-E0F0-461A-A364-5B38612F0D8F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4714875" y="-176213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Gerade Verbindung 27">
                  <a:extLst>
                    <a:ext uri="{FF2B5EF4-FFF2-40B4-BE49-F238E27FC236}">
                      <a16:creationId xmlns:a16="http://schemas.microsoft.com/office/drawing/2014/main" xmlns="" id="{B4C9E88E-86C6-4EB0-A2BD-244A80B97550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5000625" y="-176213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" name="Gruppieren 6">
                <a:extLst>
                  <a:ext uri="{FF2B5EF4-FFF2-40B4-BE49-F238E27FC236}">
                    <a16:creationId xmlns:a16="http://schemas.microsoft.com/office/drawing/2014/main" xmlns="" id="{6243FE75-0904-4B6D-A7CC-D8597009874C}"/>
                  </a:ext>
                </a:extLst>
              </p:cNvPr>
              <p:cNvGrpSpPr/>
              <p:nvPr userDrawn="1"/>
            </p:nvGrpSpPr>
            <p:grpSpPr>
              <a:xfrm>
                <a:off x="4810125" y="6977062"/>
                <a:ext cx="288498" cy="190500"/>
                <a:chOff x="4810125" y="6977062"/>
                <a:chExt cx="288498" cy="190500"/>
              </a:xfrm>
            </p:grpSpPr>
            <p:cxnSp>
              <p:nvCxnSpPr>
                <p:cNvPr id="36" name="Gerade Verbindung 30">
                  <a:extLst>
                    <a:ext uri="{FF2B5EF4-FFF2-40B4-BE49-F238E27FC236}">
                      <a16:creationId xmlns:a16="http://schemas.microsoft.com/office/drawing/2014/main" xmlns="" id="{8B940F26-F3C8-43C4-B8C5-60953DBFD17A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4714875" y="7072312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Gerade Verbindung 31">
                  <a:extLst>
                    <a:ext uri="{FF2B5EF4-FFF2-40B4-BE49-F238E27FC236}">
                      <a16:creationId xmlns:a16="http://schemas.microsoft.com/office/drawing/2014/main" xmlns="" id="{239831C2-DAC6-4E29-8AF1-1C3C1A3B1F9E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5003373" y="7072312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xmlns="" id="{18CA1891-B0BF-4627-9030-A9907B79A9D1}"/>
                </a:ext>
              </a:extLst>
            </p:cNvPr>
            <p:cNvGrpSpPr/>
            <p:nvPr userDrawn="1"/>
          </p:nvGrpSpPr>
          <p:grpSpPr>
            <a:xfrm>
              <a:off x="838201" y="6977062"/>
              <a:ext cx="10515601" cy="190500"/>
              <a:chOff x="838201" y="6977062"/>
              <a:chExt cx="10515601" cy="190500"/>
            </a:xfrm>
          </p:grpSpPr>
          <p:cxnSp>
            <p:nvCxnSpPr>
              <p:cNvPr id="32" name="Gerade Verbindung 29">
                <a:extLst>
                  <a:ext uri="{FF2B5EF4-FFF2-40B4-BE49-F238E27FC236}">
                    <a16:creationId xmlns:a16="http://schemas.microsoft.com/office/drawing/2014/main" xmlns="" id="{81C36DF6-64F8-411D-A77B-FC55B5826531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742951" y="7072312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>
                <a:extLst>
                  <a:ext uri="{FF2B5EF4-FFF2-40B4-BE49-F238E27FC236}">
                    <a16:creationId xmlns:a16="http://schemas.microsoft.com/office/drawing/2014/main" xmlns="" id="{62D14ACB-3841-4560-9930-6A3E27BAD716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11258552" y="7072312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0BE302E1-14E5-4082-85B2-AB8428BD05D7}"/>
                </a:ext>
              </a:extLst>
            </p:cNvPr>
            <p:cNvGrpSpPr/>
            <p:nvPr userDrawn="1"/>
          </p:nvGrpSpPr>
          <p:grpSpPr>
            <a:xfrm>
              <a:off x="-550545" y="726434"/>
              <a:ext cx="466406" cy="6131564"/>
              <a:chOff x="-550545" y="726434"/>
              <a:chExt cx="466406" cy="6131564"/>
            </a:xfrm>
          </p:grpSpPr>
          <p:cxnSp>
            <p:nvCxnSpPr>
              <p:cNvPr id="20" name="Gerade Verbindung 15">
                <a:extLst>
                  <a:ext uri="{FF2B5EF4-FFF2-40B4-BE49-F238E27FC236}">
                    <a16:creationId xmlns:a16="http://schemas.microsoft.com/office/drawing/2014/main" xmlns="" id="{645A59F1-0D9B-439C-B040-86EA106B41F2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726434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16">
                <a:extLst>
                  <a:ext uri="{FF2B5EF4-FFF2-40B4-BE49-F238E27FC236}">
                    <a16:creationId xmlns:a16="http://schemas.microsoft.com/office/drawing/2014/main" xmlns="" id="{B6C2BF50-FBE1-4892-9761-2D81D6A12981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15768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17">
                <a:extLst>
                  <a:ext uri="{FF2B5EF4-FFF2-40B4-BE49-F238E27FC236}">
                    <a16:creationId xmlns:a16="http://schemas.microsoft.com/office/drawing/2014/main" xmlns="" id="{DEF0C1AD-0B30-4985-94EF-AC1F835FBDD1}"/>
                  </a:ext>
                </a:extLst>
              </p:cNvPr>
              <p:cNvCxnSpPr/>
              <p:nvPr userDrawn="1"/>
            </p:nvCxnSpPr>
            <p:spPr bwMode="gray">
              <a:xfrm flipH="1">
                <a:off x="-274639" y="180816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18">
                <a:extLst>
                  <a:ext uri="{FF2B5EF4-FFF2-40B4-BE49-F238E27FC236}">
                    <a16:creationId xmlns:a16="http://schemas.microsoft.com/office/drawing/2014/main" xmlns="" id="{C241CD4B-A696-4224-B0E9-76BD2E8E76B9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630713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19">
                <a:extLst>
                  <a:ext uri="{FF2B5EF4-FFF2-40B4-BE49-F238E27FC236}">
                    <a16:creationId xmlns:a16="http://schemas.microsoft.com/office/drawing/2014/main" xmlns="" id="{1AA90D6A-353F-4DC2-A0D7-1BCDB14BF5FA}"/>
                  </a:ext>
                </a:extLst>
              </p:cNvPr>
              <p:cNvCxnSpPr/>
              <p:nvPr userDrawn="1"/>
            </p:nvCxnSpPr>
            <p:spPr bwMode="gray">
              <a:xfrm flipH="1">
                <a:off x="-274639" y="685799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Runde Klammer links 85">
                <a:extLst>
                  <a:ext uri="{FF2B5EF4-FFF2-40B4-BE49-F238E27FC236}">
                    <a16:creationId xmlns:a16="http://schemas.microsoft.com/office/drawing/2014/main" xmlns="" id="{8DE9284E-F85C-4035-999D-31F3C4B9717B}"/>
                  </a:ext>
                </a:extLst>
              </p:cNvPr>
              <p:cNvSpPr/>
              <p:nvPr userDrawn="1"/>
            </p:nvSpPr>
            <p:spPr bwMode="gray">
              <a:xfrm>
                <a:off x="-550545" y="726434"/>
                <a:ext cx="203200" cy="850392"/>
              </a:xfrm>
              <a:prstGeom prst="leftBracket">
                <a:avLst>
                  <a:gd name="adj" fmla="val 0"/>
                </a:avLst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1">
                  <a:lnSpc>
                    <a:spcPct val="100000"/>
                  </a:lnSpc>
                </a:pPr>
                <a:endParaRPr lang="en-US" sz="1350" dirty="0"/>
              </a:p>
            </p:txBody>
          </p:sp>
          <p:sp>
            <p:nvSpPr>
              <p:cNvPr id="26" name="Runde Klammer links 86">
                <a:extLst>
                  <a:ext uri="{FF2B5EF4-FFF2-40B4-BE49-F238E27FC236}">
                    <a16:creationId xmlns:a16="http://schemas.microsoft.com/office/drawing/2014/main" xmlns="" id="{D2504804-4326-4EED-855B-E241B66DF3E5}"/>
                  </a:ext>
                </a:extLst>
              </p:cNvPr>
              <p:cNvSpPr/>
              <p:nvPr userDrawn="1"/>
            </p:nvSpPr>
            <p:spPr bwMode="gray">
              <a:xfrm>
                <a:off x="-550545" y="6342926"/>
                <a:ext cx="205740" cy="515072"/>
              </a:xfrm>
              <a:prstGeom prst="leftBracket">
                <a:avLst>
                  <a:gd name="adj" fmla="val 0"/>
                </a:avLst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eaLnBrk="1">
                  <a:lnSpc>
                    <a:spcPct val="100000"/>
                  </a:lnSpc>
                </a:pPr>
                <a:endParaRPr lang="en-US" sz="1350" dirty="0"/>
              </a:p>
            </p:txBody>
          </p:sp>
          <p:sp>
            <p:nvSpPr>
              <p:cNvPr id="27" name="Textplatzhalter 11">
                <a:extLst>
                  <a:ext uri="{FF2B5EF4-FFF2-40B4-BE49-F238E27FC236}">
                    <a16:creationId xmlns:a16="http://schemas.microsoft.com/office/drawing/2014/main" xmlns="" id="{FA80BB09-29E7-472B-A2E5-1DCC6E52978A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814763" y="1090076"/>
                <a:ext cx="723900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 dirty="0">
                    <a:solidFill>
                      <a:schemeClr val="bg1"/>
                    </a:solidFill>
                  </a:rPr>
                  <a:t>Headline</a:t>
                </a:r>
              </a:p>
            </p:txBody>
          </p:sp>
          <p:sp>
            <p:nvSpPr>
              <p:cNvPr id="28" name="Textplatzhalter 11">
                <a:extLst>
                  <a:ext uri="{FF2B5EF4-FFF2-40B4-BE49-F238E27FC236}">
                    <a16:creationId xmlns:a16="http://schemas.microsoft.com/office/drawing/2014/main" xmlns="" id="{0EDA8CB0-F629-48AF-B7FF-0731E2814B7B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814763" y="3996095"/>
                <a:ext cx="723900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 dirty="0">
                    <a:solidFill>
                      <a:schemeClr val="bg1"/>
                    </a:solidFill>
                  </a:rPr>
                  <a:t>Content</a:t>
                </a:r>
              </a:p>
            </p:txBody>
          </p:sp>
          <p:sp>
            <p:nvSpPr>
              <p:cNvPr id="29" name="Textplatzhalter 11">
                <a:extLst>
                  <a:ext uri="{FF2B5EF4-FFF2-40B4-BE49-F238E27FC236}">
                    <a16:creationId xmlns:a16="http://schemas.microsoft.com/office/drawing/2014/main" xmlns="" id="{6C155C92-9D3B-4C78-9A36-A0E486E1132B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564198" y="6538908"/>
                <a:ext cx="339725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 dirty="0">
                    <a:solidFill>
                      <a:schemeClr val="bg1"/>
                    </a:solidFill>
                  </a:rPr>
                  <a:t>Foot-note</a:t>
                </a:r>
              </a:p>
            </p:txBody>
          </p:sp>
          <p:sp>
            <p:nvSpPr>
              <p:cNvPr id="30" name="Freihandform 90">
                <a:extLst>
                  <a:ext uri="{FF2B5EF4-FFF2-40B4-BE49-F238E27FC236}">
                    <a16:creationId xmlns:a16="http://schemas.microsoft.com/office/drawing/2014/main" xmlns="" id="{0C054B25-1E76-42B5-96AC-C98D7AB83E4A}"/>
                  </a:ext>
                </a:extLst>
              </p:cNvPr>
              <p:cNvSpPr/>
              <p:nvPr userDrawn="1"/>
            </p:nvSpPr>
            <p:spPr>
              <a:xfrm>
                <a:off x="-550545" y="1808163"/>
                <a:ext cx="203200" cy="4498972"/>
              </a:xfrm>
              <a:custGeom>
                <a:avLst/>
                <a:gdLst>
                  <a:gd name="connsiteX0" fmla="*/ 0 w 275906"/>
                  <a:gd name="connsiteY0" fmla="*/ 0 h 4371974"/>
                  <a:gd name="connsiteX1" fmla="*/ 275906 w 275906"/>
                  <a:gd name="connsiteY1" fmla="*/ 0 h 4371974"/>
                  <a:gd name="connsiteX2" fmla="*/ 275906 w 275906"/>
                  <a:gd name="connsiteY2" fmla="*/ 4371974 h 4371974"/>
                  <a:gd name="connsiteX3" fmla="*/ 0 w 275906"/>
                  <a:gd name="connsiteY3" fmla="*/ 4371974 h 4371974"/>
                  <a:gd name="connsiteX0" fmla="*/ 0 w 275906"/>
                  <a:gd name="connsiteY0" fmla="*/ 0 h 4371974"/>
                  <a:gd name="connsiteX1" fmla="*/ 275906 w 275906"/>
                  <a:gd name="connsiteY1" fmla="*/ 0 h 4371974"/>
                  <a:gd name="connsiteX2" fmla="*/ 274320 w 275906"/>
                  <a:gd name="connsiteY2" fmla="*/ 1981199 h 4371974"/>
                  <a:gd name="connsiteX3" fmla="*/ 275906 w 275906"/>
                  <a:gd name="connsiteY3" fmla="*/ 4371974 h 4371974"/>
                  <a:gd name="connsiteX4" fmla="*/ 0 w 275906"/>
                  <a:gd name="connsiteY4" fmla="*/ 4371974 h 4371974"/>
                  <a:gd name="connsiteX5" fmla="*/ 0 w 275906"/>
                  <a:gd name="connsiteY5" fmla="*/ 0 h 4371974"/>
                  <a:gd name="connsiteX0" fmla="*/ 274320 w 365760"/>
                  <a:gd name="connsiteY0" fmla="*/ 1981199 h 4371974"/>
                  <a:gd name="connsiteX1" fmla="*/ 275906 w 365760"/>
                  <a:gd name="connsiteY1" fmla="*/ 4371974 h 4371974"/>
                  <a:gd name="connsiteX2" fmla="*/ 0 w 365760"/>
                  <a:gd name="connsiteY2" fmla="*/ 4371974 h 4371974"/>
                  <a:gd name="connsiteX3" fmla="*/ 0 w 365760"/>
                  <a:gd name="connsiteY3" fmla="*/ 0 h 4371974"/>
                  <a:gd name="connsiteX4" fmla="*/ 275906 w 365760"/>
                  <a:gd name="connsiteY4" fmla="*/ 0 h 4371974"/>
                  <a:gd name="connsiteX5" fmla="*/ 365760 w 365760"/>
                  <a:gd name="connsiteY5" fmla="*/ 2072639 h 4371974"/>
                  <a:gd name="connsiteX0" fmla="*/ 274320 w 275906"/>
                  <a:gd name="connsiteY0" fmla="*/ 1981199 h 4371974"/>
                  <a:gd name="connsiteX1" fmla="*/ 275906 w 275906"/>
                  <a:gd name="connsiteY1" fmla="*/ 4371974 h 4371974"/>
                  <a:gd name="connsiteX2" fmla="*/ 0 w 275906"/>
                  <a:gd name="connsiteY2" fmla="*/ 4371974 h 4371974"/>
                  <a:gd name="connsiteX3" fmla="*/ 0 w 275906"/>
                  <a:gd name="connsiteY3" fmla="*/ 0 h 4371974"/>
                  <a:gd name="connsiteX4" fmla="*/ 275906 w 275906"/>
                  <a:gd name="connsiteY4" fmla="*/ 0 h 4371974"/>
                  <a:gd name="connsiteX0" fmla="*/ 275906 w 275906"/>
                  <a:gd name="connsiteY0" fmla="*/ 4371974 h 4371974"/>
                  <a:gd name="connsiteX1" fmla="*/ 0 w 275906"/>
                  <a:gd name="connsiteY1" fmla="*/ 4371974 h 4371974"/>
                  <a:gd name="connsiteX2" fmla="*/ 0 w 275906"/>
                  <a:gd name="connsiteY2" fmla="*/ 0 h 4371974"/>
                  <a:gd name="connsiteX3" fmla="*/ 275906 w 275906"/>
                  <a:gd name="connsiteY3" fmla="*/ 0 h 4371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5906" h="4371974">
                    <a:moveTo>
                      <a:pt x="275906" y="4371974"/>
                    </a:moveTo>
                    <a:lnTo>
                      <a:pt x="0" y="4371974"/>
                    </a:lnTo>
                    <a:lnTo>
                      <a:pt x="0" y="0"/>
                    </a:lnTo>
                    <a:lnTo>
                      <a:pt x="275906" y="0"/>
                    </a:lnTo>
                  </a:path>
                </a:pathLst>
              </a:cu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1">
                  <a:lnSpc>
                    <a:spcPct val="100000"/>
                  </a:lnSpc>
                </a:pPr>
                <a:endParaRPr lang="en-US" sz="75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cxnSp>
            <p:nvCxnSpPr>
              <p:cNvPr id="31" name="Gerade Verbindung 18">
                <a:extLst>
                  <a:ext uri="{FF2B5EF4-FFF2-40B4-BE49-F238E27FC236}">
                    <a16:creationId xmlns:a16="http://schemas.microsoft.com/office/drawing/2014/main" xmlns="" id="{D63D4B35-BEA0-409D-AB7F-C0650847CDAA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63429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879072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60" r:id="rId12"/>
    <p:sldLayoutId id="2147483795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88" userDrawn="1">
          <p15:clr>
            <a:srgbClr val="F26B43"/>
          </p15:clr>
        </p15:guide>
        <p15:guide id="2" pos="27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8506208-1C3E-4A9C-A81B-46F49CBE6C88}"/>
              </a:ext>
            </a:extLst>
          </p:cNvPr>
          <p:cNvSpPr/>
          <p:nvPr userDrawn="1"/>
        </p:nvSpPr>
        <p:spPr>
          <a:xfrm flipV="1">
            <a:off x="1143" y="726434"/>
            <a:ext cx="9141714" cy="850392"/>
          </a:xfrm>
          <a:prstGeom prst="rect">
            <a:avLst/>
          </a:prstGeom>
          <a:solidFill>
            <a:srgbClr val="06419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E9D1EC4-2DD2-44EF-9A56-46BE9F6B18FD}"/>
              </a:ext>
            </a:extLst>
          </p:cNvPr>
          <p:cNvSpPr/>
          <p:nvPr userDrawn="1"/>
        </p:nvSpPr>
        <p:spPr>
          <a:xfrm flipV="1">
            <a:off x="1143" y="6342926"/>
            <a:ext cx="9141714" cy="515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>
              <a:solidFill>
                <a:prstClr val="white"/>
              </a:solidFill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82EA2E2-B810-4824-BB7F-6DB764AA50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95" name="think-cell Slide" r:id="rId20" imgW="399" imgH="401" progId="TCLayout.ActiveDocument.1">
                  <p:embed/>
                </p:oleObj>
              </mc:Choice>
              <mc:Fallback>
                <p:oleObj name="think-cell Slide" r:id="rId20" imgW="399" imgH="40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B8CE5F91-43BF-47D8-B720-E2438600D895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2E3DB1E6-26E1-4F5E-843F-560A945FFE0A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14" y="166398"/>
            <a:ext cx="1183932" cy="458946"/>
          </a:xfrm>
          <a:prstGeom prst="rect">
            <a:avLst/>
          </a:prstGeom>
        </p:spPr>
      </p:pic>
      <p:pic>
        <p:nvPicPr>
          <p:cNvPr id="12" name="Graphic 12">
            <a:extLst>
              <a:ext uri="{FF2B5EF4-FFF2-40B4-BE49-F238E27FC236}">
                <a16:creationId xmlns:a16="http://schemas.microsoft.com/office/drawing/2014/main" xmlns="" id="{047A5D89-E27D-47CE-A055-F5592033255D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8555355" y="896698"/>
            <a:ext cx="409479" cy="60889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8E6C14EF-F177-4FC6-B1A5-52AAC4CB4FDF}"/>
              </a:ext>
            </a:extLst>
          </p:cNvPr>
          <p:cNvSpPr/>
          <p:nvPr userDrawn="1"/>
        </p:nvSpPr>
        <p:spPr>
          <a:xfrm rot="10800000" flipV="1">
            <a:off x="1143" y="726434"/>
            <a:ext cx="9141714" cy="7967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>
              <a:solidFill>
                <a:prstClr val="white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0F071757-DFDB-4E56-B748-C42815BAE0EE}"/>
              </a:ext>
            </a:extLst>
          </p:cNvPr>
          <p:cNvGrpSpPr/>
          <p:nvPr userDrawn="1"/>
        </p:nvGrpSpPr>
        <p:grpSpPr>
          <a:xfrm>
            <a:off x="-412909" y="-271463"/>
            <a:ext cx="9763529" cy="7439025"/>
            <a:chOff x="-550545" y="-271463"/>
            <a:chExt cx="13018038" cy="743902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xmlns="" id="{6CFECB5A-46A7-428A-98AB-DB197872C818}"/>
                </a:ext>
              </a:extLst>
            </p:cNvPr>
            <p:cNvGrpSpPr/>
            <p:nvPr userDrawn="1"/>
          </p:nvGrpSpPr>
          <p:grpSpPr>
            <a:xfrm>
              <a:off x="12276993" y="726434"/>
              <a:ext cx="190500" cy="6131564"/>
              <a:chOff x="12276993" y="726434"/>
              <a:chExt cx="190500" cy="6131564"/>
            </a:xfrm>
          </p:grpSpPr>
          <p:cxnSp>
            <p:nvCxnSpPr>
              <p:cNvPr id="42" name="Gerade Verbindung 20">
                <a:extLst>
                  <a:ext uri="{FF2B5EF4-FFF2-40B4-BE49-F238E27FC236}">
                    <a16:creationId xmlns:a16="http://schemas.microsoft.com/office/drawing/2014/main" xmlns="" id="{7204502D-6ED1-4884-9A4A-F372B08508A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726434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21">
                <a:extLst>
                  <a:ext uri="{FF2B5EF4-FFF2-40B4-BE49-F238E27FC236}">
                    <a16:creationId xmlns:a16="http://schemas.microsoft.com/office/drawing/2014/main" xmlns="" id="{4D92796D-86BF-4216-BD2F-5D3857716B6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15768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22">
                <a:extLst>
                  <a:ext uri="{FF2B5EF4-FFF2-40B4-BE49-F238E27FC236}">
                    <a16:creationId xmlns:a16="http://schemas.microsoft.com/office/drawing/2014/main" xmlns="" id="{FB3DDE13-8EB9-465D-A8B1-9987AF774413}"/>
                  </a:ext>
                </a:extLst>
              </p:cNvPr>
              <p:cNvCxnSpPr/>
              <p:nvPr/>
            </p:nvCxnSpPr>
            <p:spPr bwMode="gray">
              <a:xfrm flipH="1">
                <a:off x="12276993" y="180816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23">
                <a:extLst>
                  <a:ext uri="{FF2B5EF4-FFF2-40B4-BE49-F238E27FC236}">
                    <a16:creationId xmlns:a16="http://schemas.microsoft.com/office/drawing/2014/main" xmlns="" id="{D67C25AD-36DD-48A0-B0A7-DE84D01F144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63429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24">
                <a:extLst>
                  <a:ext uri="{FF2B5EF4-FFF2-40B4-BE49-F238E27FC236}">
                    <a16:creationId xmlns:a16="http://schemas.microsoft.com/office/drawing/2014/main" xmlns="" id="{B907C943-CD78-41BF-93AB-F10C25D734A9}"/>
                  </a:ext>
                </a:extLst>
              </p:cNvPr>
              <p:cNvCxnSpPr/>
              <p:nvPr/>
            </p:nvCxnSpPr>
            <p:spPr bwMode="gray">
              <a:xfrm flipH="1">
                <a:off x="12276993" y="685799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xmlns="" id="{A7852B21-BC1B-41D2-B5DC-B5947266DD74}"/>
                </a:ext>
              </a:extLst>
            </p:cNvPr>
            <p:cNvGrpSpPr/>
            <p:nvPr userDrawn="1"/>
          </p:nvGrpSpPr>
          <p:grpSpPr>
            <a:xfrm>
              <a:off x="838200" y="-271463"/>
              <a:ext cx="10515600" cy="190500"/>
              <a:chOff x="838200" y="-271463"/>
              <a:chExt cx="10515600" cy="190500"/>
            </a:xfrm>
          </p:grpSpPr>
          <p:cxnSp>
            <p:nvCxnSpPr>
              <p:cNvPr id="40" name="Gerade Verbindung 25">
                <a:extLst>
                  <a:ext uri="{FF2B5EF4-FFF2-40B4-BE49-F238E27FC236}">
                    <a16:creationId xmlns:a16="http://schemas.microsoft.com/office/drawing/2014/main" xmlns="" id="{CDCF98E2-366B-4E18-A37F-380DD06CE40B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742950" y="-17621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28">
                <a:extLst>
                  <a:ext uri="{FF2B5EF4-FFF2-40B4-BE49-F238E27FC236}">
                    <a16:creationId xmlns:a16="http://schemas.microsoft.com/office/drawing/2014/main" xmlns="" id="{049DF97A-6EBC-4619-820F-B785C652C75A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11258550" y="-17621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xmlns="" id="{996366FE-EF73-491C-9BEE-AC491005DD7E}"/>
                </a:ext>
              </a:extLst>
            </p:cNvPr>
            <p:cNvGrpSpPr/>
            <p:nvPr userDrawn="1"/>
          </p:nvGrpSpPr>
          <p:grpSpPr>
            <a:xfrm>
              <a:off x="5951751" y="-271463"/>
              <a:ext cx="288498" cy="7439025"/>
              <a:chOff x="4810125" y="-271463"/>
              <a:chExt cx="288498" cy="7439025"/>
            </a:xfrm>
          </p:grpSpPr>
          <p:grpSp>
            <p:nvGrpSpPr>
              <p:cNvPr id="34" name="Gruppieren 5">
                <a:extLst>
                  <a:ext uri="{FF2B5EF4-FFF2-40B4-BE49-F238E27FC236}">
                    <a16:creationId xmlns:a16="http://schemas.microsoft.com/office/drawing/2014/main" xmlns="" id="{4FD2E156-CE7C-4D5C-AD85-B7B790C9566C}"/>
                  </a:ext>
                </a:extLst>
              </p:cNvPr>
              <p:cNvGrpSpPr/>
              <p:nvPr userDrawn="1"/>
            </p:nvGrpSpPr>
            <p:grpSpPr>
              <a:xfrm>
                <a:off x="4810125" y="-271463"/>
                <a:ext cx="285750" cy="190500"/>
                <a:chOff x="4810125" y="-271463"/>
                <a:chExt cx="285750" cy="190500"/>
              </a:xfrm>
            </p:grpSpPr>
            <p:cxnSp>
              <p:nvCxnSpPr>
                <p:cNvPr id="38" name="Gerade Verbindung 26">
                  <a:extLst>
                    <a:ext uri="{FF2B5EF4-FFF2-40B4-BE49-F238E27FC236}">
                      <a16:creationId xmlns:a16="http://schemas.microsoft.com/office/drawing/2014/main" xmlns="" id="{F830C1AA-E0F0-461A-A364-5B38612F0D8F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4714875" y="-176213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Gerade Verbindung 27">
                  <a:extLst>
                    <a:ext uri="{FF2B5EF4-FFF2-40B4-BE49-F238E27FC236}">
                      <a16:creationId xmlns:a16="http://schemas.microsoft.com/office/drawing/2014/main" xmlns="" id="{B4C9E88E-86C6-4EB0-A2BD-244A80B97550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5000625" y="-176213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" name="Gruppieren 6">
                <a:extLst>
                  <a:ext uri="{FF2B5EF4-FFF2-40B4-BE49-F238E27FC236}">
                    <a16:creationId xmlns:a16="http://schemas.microsoft.com/office/drawing/2014/main" xmlns="" id="{6243FE75-0904-4B6D-A7CC-D8597009874C}"/>
                  </a:ext>
                </a:extLst>
              </p:cNvPr>
              <p:cNvGrpSpPr/>
              <p:nvPr userDrawn="1"/>
            </p:nvGrpSpPr>
            <p:grpSpPr>
              <a:xfrm>
                <a:off x="4810125" y="6977062"/>
                <a:ext cx="288498" cy="190500"/>
                <a:chOff x="4810125" y="6977062"/>
                <a:chExt cx="288498" cy="190500"/>
              </a:xfrm>
            </p:grpSpPr>
            <p:cxnSp>
              <p:nvCxnSpPr>
                <p:cNvPr id="36" name="Gerade Verbindung 30">
                  <a:extLst>
                    <a:ext uri="{FF2B5EF4-FFF2-40B4-BE49-F238E27FC236}">
                      <a16:creationId xmlns:a16="http://schemas.microsoft.com/office/drawing/2014/main" xmlns="" id="{8B940F26-F3C8-43C4-B8C5-60953DBFD17A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4714875" y="7072312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Gerade Verbindung 31">
                  <a:extLst>
                    <a:ext uri="{FF2B5EF4-FFF2-40B4-BE49-F238E27FC236}">
                      <a16:creationId xmlns:a16="http://schemas.microsoft.com/office/drawing/2014/main" xmlns="" id="{239831C2-DAC6-4E29-8AF1-1C3C1A3B1F9E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5003373" y="7072312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xmlns="" id="{18CA1891-B0BF-4627-9030-A9907B79A9D1}"/>
                </a:ext>
              </a:extLst>
            </p:cNvPr>
            <p:cNvGrpSpPr/>
            <p:nvPr userDrawn="1"/>
          </p:nvGrpSpPr>
          <p:grpSpPr>
            <a:xfrm>
              <a:off x="838201" y="6977062"/>
              <a:ext cx="10515601" cy="190500"/>
              <a:chOff x="838201" y="6977062"/>
              <a:chExt cx="10515601" cy="190500"/>
            </a:xfrm>
          </p:grpSpPr>
          <p:cxnSp>
            <p:nvCxnSpPr>
              <p:cNvPr id="32" name="Gerade Verbindung 29">
                <a:extLst>
                  <a:ext uri="{FF2B5EF4-FFF2-40B4-BE49-F238E27FC236}">
                    <a16:creationId xmlns:a16="http://schemas.microsoft.com/office/drawing/2014/main" xmlns="" id="{81C36DF6-64F8-411D-A77B-FC55B5826531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742951" y="7072312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>
                <a:extLst>
                  <a:ext uri="{FF2B5EF4-FFF2-40B4-BE49-F238E27FC236}">
                    <a16:creationId xmlns:a16="http://schemas.microsoft.com/office/drawing/2014/main" xmlns="" id="{62D14ACB-3841-4560-9930-6A3E27BAD716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11258552" y="7072312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0BE302E1-14E5-4082-85B2-AB8428BD05D7}"/>
                </a:ext>
              </a:extLst>
            </p:cNvPr>
            <p:cNvGrpSpPr/>
            <p:nvPr userDrawn="1"/>
          </p:nvGrpSpPr>
          <p:grpSpPr>
            <a:xfrm>
              <a:off x="-550545" y="726434"/>
              <a:ext cx="466406" cy="6131564"/>
              <a:chOff x="-550545" y="726434"/>
              <a:chExt cx="466406" cy="6131564"/>
            </a:xfrm>
          </p:grpSpPr>
          <p:cxnSp>
            <p:nvCxnSpPr>
              <p:cNvPr id="20" name="Gerade Verbindung 15">
                <a:extLst>
                  <a:ext uri="{FF2B5EF4-FFF2-40B4-BE49-F238E27FC236}">
                    <a16:creationId xmlns:a16="http://schemas.microsoft.com/office/drawing/2014/main" xmlns="" id="{645A59F1-0D9B-439C-B040-86EA106B41F2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726434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16">
                <a:extLst>
                  <a:ext uri="{FF2B5EF4-FFF2-40B4-BE49-F238E27FC236}">
                    <a16:creationId xmlns:a16="http://schemas.microsoft.com/office/drawing/2014/main" xmlns="" id="{B6C2BF50-FBE1-4892-9761-2D81D6A12981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15768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17">
                <a:extLst>
                  <a:ext uri="{FF2B5EF4-FFF2-40B4-BE49-F238E27FC236}">
                    <a16:creationId xmlns:a16="http://schemas.microsoft.com/office/drawing/2014/main" xmlns="" id="{DEF0C1AD-0B30-4985-94EF-AC1F835FBDD1}"/>
                  </a:ext>
                </a:extLst>
              </p:cNvPr>
              <p:cNvCxnSpPr/>
              <p:nvPr userDrawn="1"/>
            </p:nvCxnSpPr>
            <p:spPr bwMode="gray">
              <a:xfrm flipH="1">
                <a:off x="-274639" y="180816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18">
                <a:extLst>
                  <a:ext uri="{FF2B5EF4-FFF2-40B4-BE49-F238E27FC236}">
                    <a16:creationId xmlns:a16="http://schemas.microsoft.com/office/drawing/2014/main" xmlns="" id="{C241CD4B-A696-4224-B0E9-76BD2E8E76B9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630713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19">
                <a:extLst>
                  <a:ext uri="{FF2B5EF4-FFF2-40B4-BE49-F238E27FC236}">
                    <a16:creationId xmlns:a16="http://schemas.microsoft.com/office/drawing/2014/main" xmlns="" id="{1AA90D6A-353F-4DC2-A0D7-1BCDB14BF5FA}"/>
                  </a:ext>
                </a:extLst>
              </p:cNvPr>
              <p:cNvCxnSpPr/>
              <p:nvPr userDrawn="1"/>
            </p:nvCxnSpPr>
            <p:spPr bwMode="gray">
              <a:xfrm flipH="1">
                <a:off x="-274639" y="685799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Runde Klammer links 85">
                <a:extLst>
                  <a:ext uri="{FF2B5EF4-FFF2-40B4-BE49-F238E27FC236}">
                    <a16:creationId xmlns:a16="http://schemas.microsoft.com/office/drawing/2014/main" xmlns="" id="{8DE9284E-F85C-4035-999D-31F3C4B9717B}"/>
                  </a:ext>
                </a:extLst>
              </p:cNvPr>
              <p:cNvSpPr/>
              <p:nvPr userDrawn="1"/>
            </p:nvSpPr>
            <p:spPr bwMode="gray">
              <a:xfrm>
                <a:off x="-550545" y="726434"/>
                <a:ext cx="203200" cy="850392"/>
              </a:xfrm>
              <a:prstGeom prst="leftBracket">
                <a:avLst>
                  <a:gd name="adj" fmla="val 0"/>
                </a:avLst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Runde Klammer links 86">
                <a:extLst>
                  <a:ext uri="{FF2B5EF4-FFF2-40B4-BE49-F238E27FC236}">
                    <a16:creationId xmlns:a16="http://schemas.microsoft.com/office/drawing/2014/main" xmlns="" id="{D2504804-4326-4EED-855B-E241B66DF3E5}"/>
                  </a:ext>
                </a:extLst>
              </p:cNvPr>
              <p:cNvSpPr/>
              <p:nvPr userDrawn="1"/>
            </p:nvSpPr>
            <p:spPr bwMode="gray">
              <a:xfrm>
                <a:off x="-550545" y="6342926"/>
                <a:ext cx="205740" cy="515072"/>
              </a:xfrm>
              <a:prstGeom prst="leftBracket">
                <a:avLst>
                  <a:gd name="adj" fmla="val 0"/>
                </a:avLst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Textplatzhalter 11">
                <a:extLst>
                  <a:ext uri="{FF2B5EF4-FFF2-40B4-BE49-F238E27FC236}">
                    <a16:creationId xmlns:a16="http://schemas.microsoft.com/office/drawing/2014/main" xmlns="" id="{FA80BB09-29E7-472B-A2E5-1DCC6E52978A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814763" y="1090076"/>
                <a:ext cx="723900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>
                    <a:solidFill>
                      <a:prstClr val="white"/>
                    </a:solidFill>
                  </a:rPr>
                  <a:t>Headline</a:t>
                </a:r>
              </a:p>
            </p:txBody>
          </p:sp>
          <p:sp>
            <p:nvSpPr>
              <p:cNvPr id="28" name="Textplatzhalter 11">
                <a:extLst>
                  <a:ext uri="{FF2B5EF4-FFF2-40B4-BE49-F238E27FC236}">
                    <a16:creationId xmlns:a16="http://schemas.microsoft.com/office/drawing/2014/main" xmlns="" id="{0EDA8CB0-F629-48AF-B7FF-0731E2814B7B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814763" y="3996095"/>
                <a:ext cx="723900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>
                    <a:solidFill>
                      <a:prstClr val="white"/>
                    </a:solidFill>
                  </a:rPr>
                  <a:t>Content</a:t>
                </a:r>
              </a:p>
            </p:txBody>
          </p:sp>
          <p:sp>
            <p:nvSpPr>
              <p:cNvPr id="29" name="Textplatzhalter 11">
                <a:extLst>
                  <a:ext uri="{FF2B5EF4-FFF2-40B4-BE49-F238E27FC236}">
                    <a16:creationId xmlns:a16="http://schemas.microsoft.com/office/drawing/2014/main" xmlns="" id="{6C155C92-9D3B-4C78-9A36-A0E486E1132B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564198" y="6538908"/>
                <a:ext cx="339725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>
                    <a:solidFill>
                      <a:prstClr val="white"/>
                    </a:solidFill>
                  </a:rPr>
                  <a:t>Foot-note</a:t>
                </a:r>
              </a:p>
            </p:txBody>
          </p:sp>
          <p:sp>
            <p:nvSpPr>
              <p:cNvPr id="30" name="Freihandform 90">
                <a:extLst>
                  <a:ext uri="{FF2B5EF4-FFF2-40B4-BE49-F238E27FC236}">
                    <a16:creationId xmlns:a16="http://schemas.microsoft.com/office/drawing/2014/main" xmlns="" id="{0C054B25-1E76-42B5-96AC-C98D7AB83E4A}"/>
                  </a:ext>
                </a:extLst>
              </p:cNvPr>
              <p:cNvSpPr/>
              <p:nvPr userDrawn="1"/>
            </p:nvSpPr>
            <p:spPr>
              <a:xfrm>
                <a:off x="-550545" y="1808163"/>
                <a:ext cx="203200" cy="4498972"/>
              </a:xfrm>
              <a:custGeom>
                <a:avLst/>
                <a:gdLst>
                  <a:gd name="connsiteX0" fmla="*/ 0 w 275906"/>
                  <a:gd name="connsiteY0" fmla="*/ 0 h 4371974"/>
                  <a:gd name="connsiteX1" fmla="*/ 275906 w 275906"/>
                  <a:gd name="connsiteY1" fmla="*/ 0 h 4371974"/>
                  <a:gd name="connsiteX2" fmla="*/ 275906 w 275906"/>
                  <a:gd name="connsiteY2" fmla="*/ 4371974 h 4371974"/>
                  <a:gd name="connsiteX3" fmla="*/ 0 w 275906"/>
                  <a:gd name="connsiteY3" fmla="*/ 4371974 h 4371974"/>
                  <a:gd name="connsiteX0" fmla="*/ 0 w 275906"/>
                  <a:gd name="connsiteY0" fmla="*/ 0 h 4371974"/>
                  <a:gd name="connsiteX1" fmla="*/ 275906 w 275906"/>
                  <a:gd name="connsiteY1" fmla="*/ 0 h 4371974"/>
                  <a:gd name="connsiteX2" fmla="*/ 274320 w 275906"/>
                  <a:gd name="connsiteY2" fmla="*/ 1981199 h 4371974"/>
                  <a:gd name="connsiteX3" fmla="*/ 275906 w 275906"/>
                  <a:gd name="connsiteY3" fmla="*/ 4371974 h 4371974"/>
                  <a:gd name="connsiteX4" fmla="*/ 0 w 275906"/>
                  <a:gd name="connsiteY4" fmla="*/ 4371974 h 4371974"/>
                  <a:gd name="connsiteX5" fmla="*/ 0 w 275906"/>
                  <a:gd name="connsiteY5" fmla="*/ 0 h 4371974"/>
                  <a:gd name="connsiteX0" fmla="*/ 274320 w 365760"/>
                  <a:gd name="connsiteY0" fmla="*/ 1981199 h 4371974"/>
                  <a:gd name="connsiteX1" fmla="*/ 275906 w 365760"/>
                  <a:gd name="connsiteY1" fmla="*/ 4371974 h 4371974"/>
                  <a:gd name="connsiteX2" fmla="*/ 0 w 365760"/>
                  <a:gd name="connsiteY2" fmla="*/ 4371974 h 4371974"/>
                  <a:gd name="connsiteX3" fmla="*/ 0 w 365760"/>
                  <a:gd name="connsiteY3" fmla="*/ 0 h 4371974"/>
                  <a:gd name="connsiteX4" fmla="*/ 275906 w 365760"/>
                  <a:gd name="connsiteY4" fmla="*/ 0 h 4371974"/>
                  <a:gd name="connsiteX5" fmla="*/ 365760 w 365760"/>
                  <a:gd name="connsiteY5" fmla="*/ 2072639 h 4371974"/>
                  <a:gd name="connsiteX0" fmla="*/ 274320 w 275906"/>
                  <a:gd name="connsiteY0" fmla="*/ 1981199 h 4371974"/>
                  <a:gd name="connsiteX1" fmla="*/ 275906 w 275906"/>
                  <a:gd name="connsiteY1" fmla="*/ 4371974 h 4371974"/>
                  <a:gd name="connsiteX2" fmla="*/ 0 w 275906"/>
                  <a:gd name="connsiteY2" fmla="*/ 4371974 h 4371974"/>
                  <a:gd name="connsiteX3" fmla="*/ 0 w 275906"/>
                  <a:gd name="connsiteY3" fmla="*/ 0 h 4371974"/>
                  <a:gd name="connsiteX4" fmla="*/ 275906 w 275906"/>
                  <a:gd name="connsiteY4" fmla="*/ 0 h 4371974"/>
                  <a:gd name="connsiteX0" fmla="*/ 275906 w 275906"/>
                  <a:gd name="connsiteY0" fmla="*/ 4371974 h 4371974"/>
                  <a:gd name="connsiteX1" fmla="*/ 0 w 275906"/>
                  <a:gd name="connsiteY1" fmla="*/ 4371974 h 4371974"/>
                  <a:gd name="connsiteX2" fmla="*/ 0 w 275906"/>
                  <a:gd name="connsiteY2" fmla="*/ 0 h 4371974"/>
                  <a:gd name="connsiteX3" fmla="*/ 275906 w 275906"/>
                  <a:gd name="connsiteY3" fmla="*/ 0 h 4371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5906" h="4371974">
                    <a:moveTo>
                      <a:pt x="275906" y="4371974"/>
                    </a:moveTo>
                    <a:lnTo>
                      <a:pt x="0" y="4371974"/>
                    </a:lnTo>
                    <a:lnTo>
                      <a:pt x="0" y="0"/>
                    </a:lnTo>
                    <a:lnTo>
                      <a:pt x="275906" y="0"/>
                    </a:lnTo>
                  </a:path>
                </a:pathLst>
              </a:cu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cxnSp>
            <p:nvCxnSpPr>
              <p:cNvPr id="31" name="Gerade Verbindung 18">
                <a:extLst>
                  <a:ext uri="{FF2B5EF4-FFF2-40B4-BE49-F238E27FC236}">
                    <a16:creationId xmlns:a16="http://schemas.microsoft.com/office/drawing/2014/main" xmlns="" id="{D63D4B35-BEA0-409D-AB7F-C0650847CDAA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63429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512893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88">
          <p15:clr>
            <a:srgbClr val="F26B43"/>
          </p15:clr>
        </p15:guide>
        <p15:guide id="2" pos="27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BAFDFA-8ABA-43B3-9D6E-201A36089EC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5/11/202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© AB &amp; David Africa 2020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8506208-1C3E-4A9C-A81B-46F49CBE6C88}"/>
              </a:ext>
            </a:extLst>
          </p:cNvPr>
          <p:cNvSpPr/>
          <p:nvPr userDrawn="1"/>
        </p:nvSpPr>
        <p:spPr>
          <a:xfrm flipV="1">
            <a:off x="1143" y="726434"/>
            <a:ext cx="9141714" cy="850392"/>
          </a:xfrm>
          <a:prstGeom prst="rect">
            <a:avLst/>
          </a:prstGeom>
          <a:solidFill>
            <a:srgbClr val="06419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E9D1EC4-2DD2-44EF-9A56-46BE9F6B18FD}"/>
              </a:ext>
            </a:extLst>
          </p:cNvPr>
          <p:cNvSpPr/>
          <p:nvPr userDrawn="1"/>
        </p:nvSpPr>
        <p:spPr>
          <a:xfrm flipV="1">
            <a:off x="1143" y="6342926"/>
            <a:ext cx="9141714" cy="515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254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>
              <a:solidFill>
                <a:prstClr val="white"/>
              </a:solidFill>
            </a:endParaRPr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82EA2E2-B810-4824-BB7F-6DB764AA50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138" name="think-cell Slide" r:id="rId19" imgW="399" imgH="401" progId="TCLayout.ActiveDocument.1">
                  <p:embed/>
                </p:oleObj>
              </mc:Choice>
              <mc:Fallback>
                <p:oleObj name="think-cell Slide" r:id="rId19" imgW="399" imgH="40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B8CE5F91-43BF-47D8-B720-E2438600D895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25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2E3DB1E6-26E1-4F5E-843F-560A945FFE0A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14" y="166398"/>
            <a:ext cx="1183932" cy="458946"/>
          </a:xfrm>
          <a:prstGeom prst="rect">
            <a:avLst/>
          </a:prstGeom>
        </p:spPr>
      </p:pic>
      <p:pic>
        <p:nvPicPr>
          <p:cNvPr id="12" name="Graphic 12">
            <a:extLst>
              <a:ext uri="{FF2B5EF4-FFF2-40B4-BE49-F238E27FC236}">
                <a16:creationId xmlns:a16="http://schemas.microsoft.com/office/drawing/2014/main" xmlns="" id="{047A5D89-E27D-47CE-A055-F5592033255D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96DAC541-7B7A-43D3-8B79-37D633B846F1}">
                <asvg:svgBlip xmlns:asvg="http://schemas.microsoft.com/office/drawing/2016/SVG/main" xmlns="" r:embed="rId23"/>
              </a:ext>
            </a:extLst>
          </a:blip>
          <a:stretch>
            <a:fillRect/>
          </a:stretch>
        </p:blipFill>
        <p:spPr>
          <a:xfrm>
            <a:off x="8555355" y="896698"/>
            <a:ext cx="409479" cy="60889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8E6C14EF-F177-4FC6-B1A5-52AAC4CB4FDF}"/>
              </a:ext>
            </a:extLst>
          </p:cNvPr>
          <p:cNvSpPr/>
          <p:nvPr userDrawn="1"/>
        </p:nvSpPr>
        <p:spPr>
          <a:xfrm rot="10800000" flipV="1">
            <a:off x="1143" y="726434"/>
            <a:ext cx="9141714" cy="7967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 dirty="0">
              <a:solidFill>
                <a:prstClr val="white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0F071757-DFDB-4E56-B748-C42815BAE0EE}"/>
              </a:ext>
            </a:extLst>
          </p:cNvPr>
          <p:cNvGrpSpPr/>
          <p:nvPr userDrawn="1"/>
        </p:nvGrpSpPr>
        <p:grpSpPr>
          <a:xfrm>
            <a:off x="-412909" y="-271463"/>
            <a:ext cx="9763529" cy="7439025"/>
            <a:chOff x="-550545" y="-271463"/>
            <a:chExt cx="13018038" cy="7439025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xmlns="" id="{6CFECB5A-46A7-428A-98AB-DB197872C818}"/>
                </a:ext>
              </a:extLst>
            </p:cNvPr>
            <p:cNvGrpSpPr/>
            <p:nvPr userDrawn="1"/>
          </p:nvGrpSpPr>
          <p:grpSpPr>
            <a:xfrm>
              <a:off x="12276993" y="726434"/>
              <a:ext cx="190500" cy="6131564"/>
              <a:chOff x="12276993" y="726434"/>
              <a:chExt cx="190500" cy="6131564"/>
            </a:xfrm>
          </p:grpSpPr>
          <p:cxnSp>
            <p:nvCxnSpPr>
              <p:cNvPr id="42" name="Gerade Verbindung 20">
                <a:extLst>
                  <a:ext uri="{FF2B5EF4-FFF2-40B4-BE49-F238E27FC236}">
                    <a16:creationId xmlns:a16="http://schemas.microsoft.com/office/drawing/2014/main" xmlns="" id="{7204502D-6ED1-4884-9A4A-F372B08508A1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726434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21">
                <a:extLst>
                  <a:ext uri="{FF2B5EF4-FFF2-40B4-BE49-F238E27FC236}">
                    <a16:creationId xmlns:a16="http://schemas.microsoft.com/office/drawing/2014/main" xmlns="" id="{4D92796D-86BF-4216-BD2F-5D3857716B6E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15768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22">
                <a:extLst>
                  <a:ext uri="{FF2B5EF4-FFF2-40B4-BE49-F238E27FC236}">
                    <a16:creationId xmlns:a16="http://schemas.microsoft.com/office/drawing/2014/main" xmlns="" id="{FB3DDE13-8EB9-465D-A8B1-9987AF774413}"/>
                  </a:ext>
                </a:extLst>
              </p:cNvPr>
              <p:cNvCxnSpPr/>
              <p:nvPr/>
            </p:nvCxnSpPr>
            <p:spPr bwMode="gray">
              <a:xfrm flipH="1">
                <a:off x="12276993" y="180816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23">
                <a:extLst>
                  <a:ext uri="{FF2B5EF4-FFF2-40B4-BE49-F238E27FC236}">
                    <a16:creationId xmlns:a16="http://schemas.microsoft.com/office/drawing/2014/main" xmlns="" id="{D67C25AD-36DD-48A0-B0A7-DE84D01F144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12276993" y="63429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24">
                <a:extLst>
                  <a:ext uri="{FF2B5EF4-FFF2-40B4-BE49-F238E27FC236}">
                    <a16:creationId xmlns:a16="http://schemas.microsoft.com/office/drawing/2014/main" xmlns="" id="{B907C943-CD78-41BF-93AB-F10C25D734A9}"/>
                  </a:ext>
                </a:extLst>
              </p:cNvPr>
              <p:cNvCxnSpPr/>
              <p:nvPr/>
            </p:nvCxnSpPr>
            <p:spPr bwMode="gray">
              <a:xfrm flipH="1">
                <a:off x="12276993" y="685799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xmlns="" id="{A7852B21-BC1B-41D2-B5DC-B5947266DD74}"/>
                </a:ext>
              </a:extLst>
            </p:cNvPr>
            <p:cNvGrpSpPr/>
            <p:nvPr userDrawn="1"/>
          </p:nvGrpSpPr>
          <p:grpSpPr>
            <a:xfrm>
              <a:off x="838200" y="-271463"/>
              <a:ext cx="10515600" cy="190500"/>
              <a:chOff x="838200" y="-271463"/>
              <a:chExt cx="10515600" cy="190500"/>
            </a:xfrm>
          </p:grpSpPr>
          <p:cxnSp>
            <p:nvCxnSpPr>
              <p:cNvPr id="40" name="Gerade Verbindung 25">
                <a:extLst>
                  <a:ext uri="{FF2B5EF4-FFF2-40B4-BE49-F238E27FC236}">
                    <a16:creationId xmlns:a16="http://schemas.microsoft.com/office/drawing/2014/main" xmlns="" id="{CDCF98E2-366B-4E18-A37F-380DD06CE40B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742950" y="-17621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28">
                <a:extLst>
                  <a:ext uri="{FF2B5EF4-FFF2-40B4-BE49-F238E27FC236}">
                    <a16:creationId xmlns:a16="http://schemas.microsoft.com/office/drawing/2014/main" xmlns="" id="{049DF97A-6EBC-4619-820F-B785C652C75A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11258550" y="-17621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uppieren 8">
              <a:extLst>
                <a:ext uri="{FF2B5EF4-FFF2-40B4-BE49-F238E27FC236}">
                  <a16:creationId xmlns:a16="http://schemas.microsoft.com/office/drawing/2014/main" xmlns="" id="{996366FE-EF73-491C-9BEE-AC491005DD7E}"/>
                </a:ext>
              </a:extLst>
            </p:cNvPr>
            <p:cNvGrpSpPr/>
            <p:nvPr userDrawn="1"/>
          </p:nvGrpSpPr>
          <p:grpSpPr>
            <a:xfrm>
              <a:off x="5951751" y="-271463"/>
              <a:ext cx="288498" cy="7439025"/>
              <a:chOff x="4810125" y="-271463"/>
              <a:chExt cx="288498" cy="7439025"/>
            </a:xfrm>
          </p:grpSpPr>
          <p:grpSp>
            <p:nvGrpSpPr>
              <p:cNvPr id="34" name="Gruppieren 5">
                <a:extLst>
                  <a:ext uri="{FF2B5EF4-FFF2-40B4-BE49-F238E27FC236}">
                    <a16:creationId xmlns:a16="http://schemas.microsoft.com/office/drawing/2014/main" xmlns="" id="{4FD2E156-CE7C-4D5C-AD85-B7B790C9566C}"/>
                  </a:ext>
                </a:extLst>
              </p:cNvPr>
              <p:cNvGrpSpPr/>
              <p:nvPr userDrawn="1"/>
            </p:nvGrpSpPr>
            <p:grpSpPr>
              <a:xfrm>
                <a:off x="4810125" y="-271463"/>
                <a:ext cx="285750" cy="190500"/>
                <a:chOff x="4810125" y="-271463"/>
                <a:chExt cx="285750" cy="190500"/>
              </a:xfrm>
            </p:grpSpPr>
            <p:cxnSp>
              <p:nvCxnSpPr>
                <p:cNvPr id="38" name="Gerade Verbindung 26">
                  <a:extLst>
                    <a:ext uri="{FF2B5EF4-FFF2-40B4-BE49-F238E27FC236}">
                      <a16:creationId xmlns:a16="http://schemas.microsoft.com/office/drawing/2014/main" xmlns="" id="{F830C1AA-E0F0-461A-A364-5B38612F0D8F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4714875" y="-176213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9" name="Gerade Verbindung 27">
                  <a:extLst>
                    <a:ext uri="{FF2B5EF4-FFF2-40B4-BE49-F238E27FC236}">
                      <a16:creationId xmlns:a16="http://schemas.microsoft.com/office/drawing/2014/main" xmlns="" id="{B4C9E88E-86C6-4EB0-A2BD-244A80B97550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5000625" y="-176213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" name="Gruppieren 6">
                <a:extLst>
                  <a:ext uri="{FF2B5EF4-FFF2-40B4-BE49-F238E27FC236}">
                    <a16:creationId xmlns:a16="http://schemas.microsoft.com/office/drawing/2014/main" xmlns="" id="{6243FE75-0904-4B6D-A7CC-D8597009874C}"/>
                  </a:ext>
                </a:extLst>
              </p:cNvPr>
              <p:cNvGrpSpPr/>
              <p:nvPr userDrawn="1"/>
            </p:nvGrpSpPr>
            <p:grpSpPr>
              <a:xfrm>
                <a:off x="4810125" y="6977062"/>
                <a:ext cx="288498" cy="190500"/>
                <a:chOff x="4810125" y="6977062"/>
                <a:chExt cx="288498" cy="190500"/>
              </a:xfrm>
            </p:grpSpPr>
            <p:cxnSp>
              <p:nvCxnSpPr>
                <p:cNvPr id="36" name="Gerade Verbindung 30">
                  <a:extLst>
                    <a:ext uri="{FF2B5EF4-FFF2-40B4-BE49-F238E27FC236}">
                      <a16:creationId xmlns:a16="http://schemas.microsoft.com/office/drawing/2014/main" xmlns="" id="{8B940F26-F3C8-43C4-B8C5-60953DBFD17A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4714875" y="7072312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Gerade Verbindung 31">
                  <a:extLst>
                    <a:ext uri="{FF2B5EF4-FFF2-40B4-BE49-F238E27FC236}">
                      <a16:creationId xmlns:a16="http://schemas.microsoft.com/office/drawing/2014/main" xmlns="" id="{239831C2-DAC6-4E29-8AF1-1C3C1A3B1F9E}"/>
                    </a:ext>
                  </a:extLst>
                </p:cNvPr>
                <p:cNvCxnSpPr/>
                <p:nvPr userDrawn="1"/>
              </p:nvCxnSpPr>
              <p:spPr bwMode="gray">
                <a:xfrm rot="5400000" flipH="1">
                  <a:off x="5003373" y="7072312"/>
                  <a:ext cx="190500" cy="0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xmlns="" id="{18CA1891-B0BF-4627-9030-A9907B79A9D1}"/>
                </a:ext>
              </a:extLst>
            </p:cNvPr>
            <p:cNvGrpSpPr/>
            <p:nvPr userDrawn="1"/>
          </p:nvGrpSpPr>
          <p:grpSpPr>
            <a:xfrm>
              <a:off x="838201" y="6977062"/>
              <a:ext cx="10515601" cy="190500"/>
              <a:chOff x="838201" y="6977062"/>
              <a:chExt cx="10515601" cy="190500"/>
            </a:xfrm>
          </p:grpSpPr>
          <p:cxnSp>
            <p:nvCxnSpPr>
              <p:cNvPr id="32" name="Gerade Verbindung 29">
                <a:extLst>
                  <a:ext uri="{FF2B5EF4-FFF2-40B4-BE49-F238E27FC236}">
                    <a16:creationId xmlns:a16="http://schemas.microsoft.com/office/drawing/2014/main" xmlns="" id="{81C36DF6-64F8-411D-A77B-FC55B5826531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742951" y="7072312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>
                <a:extLst>
                  <a:ext uri="{FF2B5EF4-FFF2-40B4-BE49-F238E27FC236}">
                    <a16:creationId xmlns:a16="http://schemas.microsoft.com/office/drawing/2014/main" xmlns="" id="{62D14ACB-3841-4560-9930-6A3E27BAD716}"/>
                  </a:ext>
                </a:extLst>
              </p:cNvPr>
              <p:cNvCxnSpPr/>
              <p:nvPr userDrawn="1"/>
            </p:nvCxnSpPr>
            <p:spPr bwMode="gray">
              <a:xfrm rot="5400000" flipH="1">
                <a:off x="11258552" y="7072312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0BE302E1-14E5-4082-85B2-AB8428BD05D7}"/>
                </a:ext>
              </a:extLst>
            </p:cNvPr>
            <p:cNvGrpSpPr/>
            <p:nvPr userDrawn="1"/>
          </p:nvGrpSpPr>
          <p:grpSpPr>
            <a:xfrm>
              <a:off x="-550545" y="726434"/>
              <a:ext cx="466406" cy="6131564"/>
              <a:chOff x="-550545" y="726434"/>
              <a:chExt cx="466406" cy="6131564"/>
            </a:xfrm>
          </p:grpSpPr>
          <p:cxnSp>
            <p:nvCxnSpPr>
              <p:cNvPr id="20" name="Gerade Verbindung 15">
                <a:extLst>
                  <a:ext uri="{FF2B5EF4-FFF2-40B4-BE49-F238E27FC236}">
                    <a16:creationId xmlns:a16="http://schemas.microsoft.com/office/drawing/2014/main" xmlns="" id="{645A59F1-0D9B-439C-B040-86EA106B41F2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726434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16">
                <a:extLst>
                  <a:ext uri="{FF2B5EF4-FFF2-40B4-BE49-F238E27FC236}">
                    <a16:creationId xmlns:a16="http://schemas.microsoft.com/office/drawing/2014/main" xmlns="" id="{B6C2BF50-FBE1-4892-9761-2D81D6A12981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15768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17">
                <a:extLst>
                  <a:ext uri="{FF2B5EF4-FFF2-40B4-BE49-F238E27FC236}">
                    <a16:creationId xmlns:a16="http://schemas.microsoft.com/office/drawing/2014/main" xmlns="" id="{DEF0C1AD-0B30-4985-94EF-AC1F835FBDD1}"/>
                  </a:ext>
                </a:extLst>
              </p:cNvPr>
              <p:cNvCxnSpPr/>
              <p:nvPr userDrawn="1"/>
            </p:nvCxnSpPr>
            <p:spPr bwMode="gray">
              <a:xfrm flipH="1">
                <a:off x="-274639" y="1808163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18">
                <a:extLst>
                  <a:ext uri="{FF2B5EF4-FFF2-40B4-BE49-F238E27FC236}">
                    <a16:creationId xmlns:a16="http://schemas.microsoft.com/office/drawing/2014/main" xmlns="" id="{C241CD4B-A696-4224-B0E9-76BD2E8E76B9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630713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19">
                <a:extLst>
                  <a:ext uri="{FF2B5EF4-FFF2-40B4-BE49-F238E27FC236}">
                    <a16:creationId xmlns:a16="http://schemas.microsoft.com/office/drawing/2014/main" xmlns="" id="{1AA90D6A-353F-4DC2-A0D7-1BCDB14BF5FA}"/>
                  </a:ext>
                </a:extLst>
              </p:cNvPr>
              <p:cNvCxnSpPr/>
              <p:nvPr userDrawn="1"/>
            </p:nvCxnSpPr>
            <p:spPr bwMode="gray">
              <a:xfrm flipH="1">
                <a:off x="-274639" y="6857998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Runde Klammer links 85">
                <a:extLst>
                  <a:ext uri="{FF2B5EF4-FFF2-40B4-BE49-F238E27FC236}">
                    <a16:creationId xmlns:a16="http://schemas.microsoft.com/office/drawing/2014/main" xmlns="" id="{8DE9284E-F85C-4035-999D-31F3C4B9717B}"/>
                  </a:ext>
                </a:extLst>
              </p:cNvPr>
              <p:cNvSpPr/>
              <p:nvPr userDrawn="1"/>
            </p:nvSpPr>
            <p:spPr bwMode="gray">
              <a:xfrm>
                <a:off x="-550545" y="726434"/>
                <a:ext cx="203200" cy="850392"/>
              </a:xfrm>
              <a:prstGeom prst="leftBracket">
                <a:avLst>
                  <a:gd name="adj" fmla="val 0"/>
                </a:avLst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Runde Klammer links 86">
                <a:extLst>
                  <a:ext uri="{FF2B5EF4-FFF2-40B4-BE49-F238E27FC236}">
                    <a16:creationId xmlns:a16="http://schemas.microsoft.com/office/drawing/2014/main" xmlns="" id="{D2504804-4326-4EED-855B-E241B66DF3E5}"/>
                  </a:ext>
                </a:extLst>
              </p:cNvPr>
              <p:cNvSpPr/>
              <p:nvPr userDrawn="1"/>
            </p:nvSpPr>
            <p:spPr bwMode="gray">
              <a:xfrm>
                <a:off x="-550545" y="6342926"/>
                <a:ext cx="205740" cy="515072"/>
              </a:xfrm>
              <a:prstGeom prst="leftBracket">
                <a:avLst>
                  <a:gd name="adj" fmla="val 0"/>
                </a:avLst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Textplatzhalter 11">
                <a:extLst>
                  <a:ext uri="{FF2B5EF4-FFF2-40B4-BE49-F238E27FC236}">
                    <a16:creationId xmlns:a16="http://schemas.microsoft.com/office/drawing/2014/main" xmlns="" id="{FA80BB09-29E7-472B-A2E5-1DCC6E52978A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814763" y="1090076"/>
                <a:ext cx="723900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>
                    <a:solidFill>
                      <a:prstClr val="white"/>
                    </a:solidFill>
                  </a:rPr>
                  <a:t>Headline</a:t>
                </a:r>
              </a:p>
            </p:txBody>
          </p:sp>
          <p:sp>
            <p:nvSpPr>
              <p:cNvPr id="28" name="Textplatzhalter 11">
                <a:extLst>
                  <a:ext uri="{FF2B5EF4-FFF2-40B4-BE49-F238E27FC236}">
                    <a16:creationId xmlns:a16="http://schemas.microsoft.com/office/drawing/2014/main" xmlns="" id="{0EDA8CB0-F629-48AF-B7FF-0731E2814B7B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814763" y="3996095"/>
                <a:ext cx="723900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>
                    <a:solidFill>
                      <a:prstClr val="white"/>
                    </a:solidFill>
                  </a:rPr>
                  <a:t>Content</a:t>
                </a:r>
              </a:p>
            </p:txBody>
          </p:sp>
          <p:sp>
            <p:nvSpPr>
              <p:cNvPr id="29" name="Textplatzhalter 11">
                <a:extLst>
                  <a:ext uri="{FF2B5EF4-FFF2-40B4-BE49-F238E27FC236}">
                    <a16:creationId xmlns:a16="http://schemas.microsoft.com/office/drawing/2014/main" xmlns="" id="{6C155C92-9D3B-4C78-9A36-A0E486E1132B}"/>
                  </a:ext>
                </a:extLst>
              </p:cNvPr>
              <p:cNvSpPr txBox="1">
                <a:spLocks/>
              </p:cNvSpPr>
              <p:nvPr userDrawn="1"/>
            </p:nvSpPr>
            <p:spPr bwMode="gray">
              <a:xfrm rot="16200000">
                <a:off x="-564198" y="6538908"/>
                <a:ext cx="339725" cy="123110"/>
              </a:xfrm>
              <a:prstGeom prst="rect">
                <a:avLst/>
              </a:prstGeom>
              <a:ln>
                <a:noFill/>
              </a:ln>
            </p:spPr>
            <p:txBody>
              <a:bodyPr vert="horz" wrap="square" lIns="0" tIns="0" rIns="0" bIns="0" rtlCol="0">
                <a:spAutoFit/>
              </a:bodyPr>
              <a:lstStyle>
                <a:lvl1pPr marL="0" indent="0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None/>
                  <a:defRPr lang="de-DE" sz="1300" kern="1200" dirty="0" smtClean="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1pPr>
                <a:lvl2pPr marL="180975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2pPr>
                <a:lvl3pPr marL="361950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3pPr>
                <a:lvl4pPr marL="534988" indent="-173038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4pPr>
                <a:lvl5pPr marL="715963" indent="-180975" algn="l" rtl="0" fontAlgn="base">
                  <a:lnSpc>
                    <a:spcPct val="95000"/>
                  </a:lnSpc>
                  <a:spcBef>
                    <a:spcPts val="400"/>
                  </a:spcBef>
                  <a:spcAft>
                    <a:spcPct val="0"/>
                  </a:spcAft>
                  <a:buFont typeface="Arial" pitchFamily="34" charset="0"/>
                  <a:buChar char="̵"/>
                  <a:defRPr sz="1300" kern="1200">
                    <a:solidFill>
                      <a:schemeClr val="tx1"/>
                    </a:solidFill>
                    <a:latin typeface="+mn-lt"/>
                    <a:ea typeface="Verdana" pitchFamily="34" charset="0"/>
                    <a:cs typeface="Verdana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100000"/>
                  </a:lnSpc>
                </a:pPr>
                <a:r>
                  <a:rPr lang="en-US" sz="600">
                    <a:solidFill>
                      <a:prstClr val="white"/>
                    </a:solidFill>
                  </a:rPr>
                  <a:t>Foot-note</a:t>
                </a:r>
              </a:p>
            </p:txBody>
          </p:sp>
          <p:sp>
            <p:nvSpPr>
              <p:cNvPr id="30" name="Freihandform 90">
                <a:extLst>
                  <a:ext uri="{FF2B5EF4-FFF2-40B4-BE49-F238E27FC236}">
                    <a16:creationId xmlns:a16="http://schemas.microsoft.com/office/drawing/2014/main" xmlns="" id="{0C054B25-1E76-42B5-96AC-C98D7AB83E4A}"/>
                  </a:ext>
                </a:extLst>
              </p:cNvPr>
              <p:cNvSpPr/>
              <p:nvPr userDrawn="1"/>
            </p:nvSpPr>
            <p:spPr>
              <a:xfrm>
                <a:off x="-550545" y="1808163"/>
                <a:ext cx="203200" cy="4498972"/>
              </a:xfrm>
              <a:custGeom>
                <a:avLst/>
                <a:gdLst>
                  <a:gd name="connsiteX0" fmla="*/ 0 w 275906"/>
                  <a:gd name="connsiteY0" fmla="*/ 0 h 4371974"/>
                  <a:gd name="connsiteX1" fmla="*/ 275906 w 275906"/>
                  <a:gd name="connsiteY1" fmla="*/ 0 h 4371974"/>
                  <a:gd name="connsiteX2" fmla="*/ 275906 w 275906"/>
                  <a:gd name="connsiteY2" fmla="*/ 4371974 h 4371974"/>
                  <a:gd name="connsiteX3" fmla="*/ 0 w 275906"/>
                  <a:gd name="connsiteY3" fmla="*/ 4371974 h 4371974"/>
                  <a:gd name="connsiteX0" fmla="*/ 0 w 275906"/>
                  <a:gd name="connsiteY0" fmla="*/ 0 h 4371974"/>
                  <a:gd name="connsiteX1" fmla="*/ 275906 w 275906"/>
                  <a:gd name="connsiteY1" fmla="*/ 0 h 4371974"/>
                  <a:gd name="connsiteX2" fmla="*/ 274320 w 275906"/>
                  <a:gd name="connsiteY2" fmla="*/ 1981199 h 4371974"/>
                  <a:gd name="connsiteX3" fmla="*/ 275906 w 275906"/>
                  <a:gd name="connsiteY3" fmla="*/ 4371974 h 4371974"/>
                  <a:gd name="connsiteX4" fmla="*/ 0 w 275906"/>
                  <a:gd name="connsiteY4" fmla="*/ 4371974 h 4371974"/>
                  <a:gd name="connsiteX5" fmla="*/ 0 w 275906"/>
                  <a:gd name="connsiteY5" fmla="*/ 0 h 4371974"/>
                  <a:gd name="connsiteX0" fmla="*/ 274320 w 365760"/>
                  <a:gd name="connsiteY0" fmla="*/ 1981199 h 4371974"/>
                  <a:gd name="connsiteX1" fmla="*/ 275906 w 365760"/>
                  <a:gd name="connsiteY1" fmla="*/ 4371974 h 4371974"/>
                  <a:gd name="connsiteX2" fmla="*/ 0 w 365760"/>
                  <a:gd name="connsiteY2" fmla="*/ 4371974 h 4371974"/>
                  <a:gd name="connsiteX3" fmla="*/ 0 w 365760"/>
                  <a:gd name="connsiteY3" fmla="*/ 0 h 4371974"/>
                  <a:gd name="connsiteX4" fmla="*/ 275906 w 365760"/>
                  <a:gd name="connsiteY4" fmla="*/ 0 h 4371974"/>
                  <a:gd name="connsiteX5" fmla="*/ 365760 w 365760"/>
                  <a:gd name="connsiteY5" fmla="*/ 2072639 h 4371974"/>
                  <a:gd name="connsiteX0" fmla="*/ 274320 w 275906"/>
                  <a:gd name="connsiteY0" fmla="*/ 1981199 h 4371974"/>
                  <a:gd name="connsiteX1" fmla="*/ 275906 w 275906"/>
                  <a:gd name="connsiteY1" fmla="*/ 4371974 h 4371974"/>
                  <a:gd name="connsiteX2" fmla="*/ 0 w 275906"/>
                  <a:gd name="connsiteY2" fmla="*/ 4371974 h 4371974"/>
                  <a:gd name="connsiteX3" fmla="*/ 0 w 275906"/>
                  <a:gd name="connsiteY3" fmla="*/ 0 h 4371974"/>
                  <a:gd name="connsiteX4" fmla="*/ 275906 w 275906"/>
                  <a:gd name="connsiteY4" fmla="*/ 0 h 4371974"/>
                  <a:gd name="connsiteX0" fmla="*/ 275906 w 275906"/>
                  <a:gd name="connsiteY0" fmla="*/ 4371974 h 4371974"/>
                  <a:gd name="connsiteX1" fmla="*/ 0 w 275906"/>
                  <a:gd name="connsiteY1" fmla="*/ 4371974 h 4371974"/>
                  <a:gd name="connsiteX2" fmla="*/ 0 w 275906"/>
                  <a:gd name="connsiteY2" fmla="*/ 0 h 4371974"/>
                  <a:gd name="connsiteX3" fmla="*/ 275906 w 275906"/>
                  <a:gd name="connsiteY3" fmla="*/ 0 h 43719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5906" h="4371974">
                    <a:moveTo>
                      <a:pt x="275906" y="4371974"/>
                    </a:moveTo>
                    <a:lnTo>
                      <a:pt x="0" y="4371974"/>
                    </a:lnTo>
                    <a:lnTo>
                      <a:pt x="0" y="0"/>
                    </a:lnTo>
                    <a:lnTo>
                      <a:pt x="275906" y="0"/>
                    </a:lnTo>
                  </a:path>
                </a:pathLst>
              </a:custGeom>
              <a:no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750" dirty="0">
                  <a:solidFill>
                    <a:prstClr val="black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cxnSp>
            <p:nvCxnSpPr>
              <p:cNvPr id="31" name="Gerade Verbindung 18">
                <a:extLst>
                  <a:ext uri="{FF2B5EF4-FFF2-40B4-BE49-F238E27FC236}">
                    <a16:creationId xmlns:a16="http://schemas.microsoft.com/office/drawing/2014/main" xmlns="" id="{D63D4B35-BEA0-409D-AB7F-C0650847CDAA}"/>
                  </a:ext>
                </a:extLst>
              </p:cNvPr>
              <p:cNvCxnSpPr>
                <a:cxnSpLocks/>
              </p:cNvCxnSpPr>
              <p:nvPr userDrawn="1"/>
            </p:nvCxnSpPr>
            <p:spPr bwMode="gray">
              <a:xfrm flipH="1">
                <a:off x="-274639" y="6342926"/>
                <a:ext cx="190500" cy="0"/>
              </a:xfrm>
              <a:prstGeom prst="line">
                <a:avLst/>
              </a:prstGeom>
              <a:ln w="63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38567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4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488">
          <p15:clr>
            <a:srgbClr val="F26B43"/>
          </p15:clr>
        </p15:guide>
        <p15:guide id="2" pos="2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fif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fif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fif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fif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fif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fif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0B2F670F-FA76-4D0B-B227-DE152E4B0388}"/>
              </a:ext>
            </a:extLst>
          </p:cNvPr>
          <p:cNvGrpSpPr/>
          <p:nvPr/>
        </p:nvGrpSpPr>
        <p:grpSpPr>
          <a:xfrm>
            <a:off x="444501" y="2425701"/>
            <a:ext cx="7011376" cy="2699967"/>
            <a:chOff x="359998" y="2773680"/>
            <a:chExt cx="6120000" cy="2660091"/>
          </a:xfrm>
        </p:grpSpPr>
        <p:sp>
          <p:nvSpPr>
            <p:cNvPr id="12" name="Titel 1">
              <a:extLst>
                <a:ext uri="{FF2B5EF4-FFF2-40B4-BE49-F238E27FC236}">
                  <a16:creationId xmlns:a16="http://schemas.microsoft.com/office/drawing/2014/main" xmlns="" id="{C6019CD6-31C4-429F-8DC1-DB3E9EFD6A20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359998" y="3041386"/>
              <a:ext cx="6120000" cy="627262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3600" b="1" baseline="0">
                  <a:solidFill>
                    <a:schemeClr val="bg1"/>
                  </a:solidFill>
                  <a:latin typeface="+mj-lt"/>
                  <a:ea typeface="+mj-ea"/>
                  <a:cs typeface="Tahoma" panose="020B0604030504040204" pitchFamily="34" charset="0"/>
                </a:defRPr>
              </a:lvl1pPr>
              <a:lvl2pPr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2pPr>
              <a:lvl3pPr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3pPr>
              <a:lvl4pPr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4pPr>
              <a:lvl5pPr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5pPr>
              <a:lvl6pPr marL="457102"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6pPr>
              <a:lvl7pPr marL="914205"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7pPr>
              <a:lvl8pPr marL="1371306"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8pPr>
              <a:lvl9pPr marL="1828409"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9pPr>
            </a:lstStyle>
            <a:p>
              <a:pPr defTabSz="685800">
                <a:defRPr/>
              </a:pPr>
              <a:r>
                <a:rPr lang="en-US" sz="2100" kern="0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ULATORY FRAMEWORK </a:t>
              </a:r>
              <a:r>
                <a:rPr lang="en-US" sz="2100" kern="0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FOREIGN INVESTMENT </a:t>
              </a:r>
              <a:r>
                <a:rPr lang="en-US" sz="2100" kern="0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amp; MARKET ENTRY</a:t>
              </a:r>
              <a:endParaRPr lang="de-DE" sz="2100" kern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ußzeilenplatzhalter 3">
              <a:extLst>
                <a:ext uri="{FF2B5EF4-FFF2-40B4-BE49-F238E27FC236}">
                  <a16:creationId xmlns:a16="http://schemas.microsoft.com/office/drawing/2014/main" xmlns="" id="{74E0F5EB-98C6-40D6-9D78-1B61CBE482B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59998" y="5181771"/>
              <a:ext cx="6120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rtlCol="0" anchor="ctr" anchorCtr="0"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lang="de-DE" sz="1200" kern="1200" baseline="0" smtClean="0">
                  <a:solidFill>
                    <a:schemeClr val="bg1"/>
                  </a:solidFill>
                  <a:latin typeface="Tahoma" panose="020B0604030504040204" pitchFamily="34" charset="0"/>
                  <a:ea typeface="+mn-ea"/>
                  <a:cs typeface="+mn-cs"/>
                </a:defRPr>
              </a:lvl1pPr>
              <a:lvl2pPr marL="457102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Tahoma" charset="0"/>
                  <a:ea typeface="+mn-ea"/>
                  <a:cs typeface="+mn-cs"/>
                </a:defRPr>
              </a:lvl2pPr>
              <a:lvl3pPr marL="914205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Tahoma" charset="0"/>
                  <a:ea typeface="+mn-ea"/>
                  <a:cs typeface="+mn-cs"/>
                </a:defRPr>
              </a:lvl3pPr>
              <a:lvl4pPr marL="1371306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Tahoma" charset="0"/>
                  <a:ea typeface="+mn-ea"/>
                  <a:cs typeface="+mn-cs"/>
                </a:defRPr>
              </a:lvl4pPr>
              <a:lvl5pPr marL="1828409" algn="l" rtl="0" fontAlgn="base">
                <a:spcBef>
                  <a:spcPct val="0"/>
                </a:spcBef>
                <a:spcAft>
                  <a:spcPct val="0"/>
                </a:spcAft>
                <a:defRPr sz="3600" kern="1200">
                  <a:solidFill>
                    <a:schemeClr val="tx1"/>
                  </a:solidFill>
                  <a:latin typeface="Tahoma" charset="0"/>
                  <a:ea typeface="+mn-ea"/>
                  <a:cs typeface="+mn-cs"/>
                </a:defRPr>
              </a:lvl5pPr>
              <a:lvl6pPr marL="2285511" algn="l" defTabSz="914205" rtl="0" eaLnBrk="1" latinLnBrk="0" hangingPunct="1">
                <a:defRPr sz="3600" kern="1200">
                  <a:solidFill>
                    <a:schemeClr val="tx1"/>
                  </a:solidFill>
                  <a:latin typeface="Tahoma" charset="0"/>
                  <a:ea typeface="+mn-ea"/>
                  <a:cs typeface="+mn-cs"/>
                </a:defRPr>
              </a:lvl6pPr>
              <a:lvl7pPr marL="2742614" algn="l" defTabSz="914205" rtl="0" eaLnBrk="1" latinLnBrk="0" hangingPunct="1">
                <a:defRPr sz="3600" kern="1200">
                  <a:solidFill>
                    <a:schemeClr val="tx1"/>
                  </a:solidFill>
                  <a:latin typeface="Tahoma" charset="0"/>
                  <a:ea typeface="+mn-ea"/>
                  <a:cs typeface="+mn-cs"/>
                </a:defRPr>
              </a:lvl7pPr>
              <a:lvl8pPr marL="3199716" algn="l" defTabSz="914205" rtl="0" eaLnBrk="1" latinLnBrk="0" hangingPunct="1">
                <a:defRPr sz="3600" kern="1200">
                  <a:solidFill>
                    <a:schemeClr val="tx1"/>
                  </a:solidFill>
                  <a:latin typeface="Tahoma" charset="0"/>
                  <a:ea typeface="+mn-ea"/>
                  <a:cs typeface="+mn-cs"/>
                </a:defRPr>
              </a:lvl8pPr>
              <a:lvl9pPr marL="3656818" algn="l" defTabSz="914205" rtl="0" eaLnBrk="1" latinLnBrk="0" hangingPunct="1">
                <a:defRPr sz="3600" kern="1200">
                  <a:solidFill>
                    <a:schemeClr val="tx1"/>
                  </a:solidFill>
                  <a:latin typeface="Tahoma" charset="0"/>
                  <a:ea typeface="+mn-ea"/>
                  <a:cs typeface="+mn-cs"/>
                </a:defRPr>
              </a:lvl9pPr>
            </a:lstStyle>
            <a:p>
              <a:pPr defTabSz="685800">
                <a:spcBef>
                  <a:spcPts val="0"/>
                </a:spcBef>
                <a:defRPr/>
              </a:pPr>
              <a:r>
                <a:rPr kern="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vember 25, </a:t>
              </a:r>
              <a:r>
                <a:rPr kern="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0 </a:t>
              </a:r>
              <a:r>
                <a:rPr lang="en-US" dirty="0">
                  <a:solidFill>
                    <a:srgbClr val="002060"/>
                  </a:solidFill>
                </a:rPr>
                <a:t>| © AB &amp; David Africa 2020</a:t>
              </a:r>
            </a:p>
          </p:txBody>
        </p:sp>
        <p:sp>
          <p:nvSpPr>
            <p:cNvPr id="14" name="Titel 1">
              <a:extLst>
                <a:ext uri="{FF2B5EF4-FFF2-40B4-BE49-F238E27FC236}">
                  <a16:creationId xmlns:a16="http://schemas.microsoft.com/office/drawing/2014/main" xmlns="" id="{79655CF5-A105-482F-A5E5-758A945B82ED}"/>
                </a:ext>
              </a:extLst>
            </p:cNvPr>
            <p:cNvSpPr txBox="1">
              <a:spLocks/>
            </p:cNvSpPr>
            <p:nvPr userDrawn="1"/>
          </p:nvSpPr>
          <p:spPr bwMode="gray">
            <a:xfrm>
              <a:off x="359998" y="3881926"/>
              <a:ext cx="6120000" cy="60054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rtl="0" eaLnBrk="1" fontAlgn="base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defRPr sz="3600" b="1" baseline="0">
                  <a:solidFill>
                    <a:schemeClr val="bg1"/>
                  </a:solidFill>
                  <a:latin typeface="+mj-lt"/>
                  <a:ea typeface="+mj-ea"/>
                  <a:cs typeface="Tahoma" panose="020B0604030504040204" pitchFamily="34" charset="0"/>
                </a:defRPr>
              </a:lvl1pPr>
              <a:lvl2pPr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2pPr>
              <a:lvl3pPr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3pPr>
              <a:lvl4pPr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4pPr>
              <a:lvl5pPr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5pPr>
              <a:lvl6pPr marL="457102"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6pPr>
              <a:lvl7pPr marL="914205"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7pPr>
              <a:lvl8pPr marL="1371306"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8pPr>
              <a:lvl9pPr marL="1828409" algn="l" rtl="0" eaLnBrk="1" fontAlgn="base" hangingPunct="1">
                <a:lnSpc>
                  <a:spcPts val="2799"/>
                </a:lnSpc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Tahoma" charset="0"/>
                </a:defRPr>
              </a:lvl9pPr>
            </a:lstStyle>
            <a:p>
              <a:pPr defTabSz="685800">
                <a:defRPr/>
              </a:pPr>
              <a:r>
                <a:rPr lang="en-US" sz="2100" kern="0" dirty="0" smtClean="0">
                  <a:solidFill>
                    <a:srgbClr val="86002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sentation to the Hellenic African Chamber of Commerce and Development</a:t>
              </a:r>
              <a:endParaRPr lang="en-US" sz="2100" kern="0" dirty="0">
                <a:solidFill>
                  <a:srgbClr val="86002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C12A7294-B1EA-4C4F-8D2A-E5CB014BA952}"/>
                </a:ext>
              </a:extLst>
            </p:cNvPr>
            <p:cNvSpPr/>
            <p:nvPr/>
          </p:nvSpPr>
          <p:spPr>
            <a:xfrm>
              <a:off x="359998" y="2773680"/>
              <a:ext cx="1162097" cy="6096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5763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rican Continental Free Trade Agreement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November</a:t>
            </a:r>
            <a:r>
              <a:rPr lang="en-US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/>
              <a:t>25, </a:t>
            </a:r>
            <a:r>
              <a:rPr lang="en-US" dirty="0"/>
              <a:t>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10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5C0CA8E-DF20-4A29-A71E-F321E9C89686}"/>
              </a:ext>
            </a:extLst>
          </p:cNvPr>
          <p:cNvSpPr txBox="1"/>
          <p:nvPr/>
        </p:nvSpPr>
        <p:spPr>
          <a:xfrm>
            <a:off x="2686050" y="1643730"/>
            <a:ext cx="6041092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 -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reate the African Continental Free Trade 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 </a:t>
            </a:r>
          </a:p>
          <a:p>
            <a:pPr algn="just"/>
            <a:endParaRPr lang="en-US" sz="16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ed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54 out of the 55 African Union States and has been ratified by 29 countries. </a:t>
            </a:r>
            <a:endParaRPr lang="en-US" sz="16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en-US" sz="16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s a continental market for goods and services with free movement of people and capital - a market of 1.2 billion people and a combined GDP of $3.4 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llion</a:t>
            </a:r>
          </a:p>
          <a:p>
            <a:pPr algn="just"/>
            <a:endParaRPr lang="en-US" sz="16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eement entered into force on May 30, 2019 and trading is expected to commence in January 2021 </a:t>
            </a:r>
          </a:p>
          <a:p>
            <a:pPr algn="just"/>
            <a:endParaRPr lang="en-US" sz="16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se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: starting with a linear reduction on 90 percent of tariff 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es leading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elimination of tariffs on intra-regional imports over a period of five years</a:t>
            </a:r>
          </a:p>
          <a:p>
            <a:pPr algn="just"/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: negotiations on tariff reductions, rules of origin, protection of infant industries and the specifics for trade in the priority services sectors are still ongoing </a:t>
            </a:r>
            <a:endParaRPr lang="en-US" sz="16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16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075" y="2945274"/>
            <a:ext cx="2466975" cy="1847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466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2EAED28-47B6-4AE1-BEDC-5133D035BD6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5670550"/>
            <a:ext cx="2057400" cy="274638"/>
          </a:xfrm>
        </p:spPr>
        <p:txBody>
          <a:bodyPr/>
          <a:lstStyle/>
          <a:p>
            <a:fld id="{8131EF70-4E10-4796-BA0F-80FD5786136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spc="-2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pc="-2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pc="-2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pc="-2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pc="-20" dirty="0">
                <a:latin typeface="Aparajita" panose="020B0502040204020203" pitchFamily="18" charset="0"/>
                <a:cs typeface="Aparajita" panose="020B0502040204020203" pitchFamily="18" charset="0"/>
              </a:rPr>
              <a:t>Questions</a:t>
            </a:r>
            <a:r>
              <a:rPr lang="en-GB" dirty="0">
                <a:latin typeface="Aparajita" panose="020B0502040204020203" pitchFamily="18" charset="0"/>
                <a:cs typeface="Aparajita" panose="020B0502040204020203" pitchFamily="18" charset="0"/>
              </a:rPr>
              <a:t/>
            </a:r>
            <a:br>
              <a:rPr lang="en-GB" dirty="0">
                <a:latin typeface="Aparajita" panose="020B0502040204020203" pitchFamily="18" charset="0"/>
                <a:cs typeface="Aparajita" panose="020B0502040204020203" pitchFamily="18" charset="0"/>
              </a:rPr>
            </a:b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99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2EAED28-47B6-4AE1-BEDC-5133D035BD6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5670550"/>
            <a:ext cx="2057400" cy="274638"/>
          </a:xfrm>
        </p:spPr>
        <p:txBody>
          <a:bodyPr/>
          <a:lstStyle/>
          <a:p>
            <a:fld id="{8131EF70-4E10-4796-BA0F-80FD5786136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133" y="3752739"/>
            <a:ext cx="2836658" cy="14931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137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2EAED28-47B6-4AE1-BEDC-5133D035BD6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86600" y="5670550"/>
            <a:ext cx="2057400" cy="274638"/>
          </a:xfrm>
        </p:spPr>
        <p:txBody>
          <a:bodyPr/>
          <a:lstStyle/>
          <a:p>
            <a:fld id="{8131EF70-4E10-4796-BA0F-80FD5786136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552" y="365919"/>
            <a:ext cx="6120000" cy="892048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ontent</a:t>
            </a:r>
          </a:p>
        </p:txBody>
      </p:sp>
      <p:sp>
        <p:nvSpPr>
          <p:cNvPr id="3" name="Rectangle 2"/>
          <p:cNvSpPr/>
          <p:nvPr/>
        </p:nvSpPr>
        <p:spPr>
          <a:xfrm>
            <a:off x="346552" y="1553802"/>
            <a:ext cx="7614107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action and </a:t>
            </a: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ness</a:t>
            </a:r>
          </a:p>
          <a:p>
            <a:pPr>
              <a:lnSpc>
                <a:spcPct val="150000"/>
              </a:lnSpc>
            </a:pP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entry </a:t>
            </a: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ments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  <a:p>
            <a:pPr>
              <a:lnSpc>
                <a:spcPct val="150000"/>
              </a:lnSpc>
            </a:pP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corporation and other registrations</a:t>
            </a:r>
          </a:p>
          <a:p>
            <a:pPr marL="228600" indent="-228600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vestment 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ntives </a:t>
            </a:r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1881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action and 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ness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November</a:t>
            </a:r>
            <a:r>
              <a:rPr lang="en-US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/>
              <a:t>25, </a:t>
            </a:r>
            <a:r>
              <a:rPr lang="en-US" dirty="0"/>
              <a:t>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3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5C0CA8E-DF20-4A29-A71E-F321E9C89686}"/>
              </a:ext>
            </a:extLst>
          </p:cNvPr>
          <p:cNvSpPr txBox="1"/>
          <p:nvPr/>
        </p:nvSpPr>
        <p:spPr>
          <a:xfrm>
            <a:off x="4007223" y="1690689"/>
            <a:ext cx="4679577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ble Political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20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ies – “One District, One Factory” initiative; abolishing 5% VAT/NHIL on real estate sales; abolishing the 1% special import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y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20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ign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hip – 100% foreign ownership permitted (subject to local content requirements in specific sector such as upstream oil and gas and electricity supply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)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20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COWAS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2901951"/>
            <a:ext cx="3370836" cy="2243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79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action and 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eness Cont’d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November</a:t>
            </a:r>
            <a:r>
              <a:rPr lang="en-US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/>
              <a:t>25, </a:t>
            </a:r>
            <a:r>
              <a:rPr lang="en-US" dirty="0"/>
              <a:t>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4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5C0CA8E-DF20-4A29-A71E-F321E9C89686}"/>
              </a:ext>
            </a:extLst>
          </p:cNvPr>
          <p:cNvSpPr txBox="1"/>
          <p:nvPr/>
        </p:nvSpPr>
        <p:spPr>
          <a:xfrm>
            <a:off x="4097991" y="1690689"/>
            <a:ext cx="4719917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llent </a:t>
            </a:r>
            <a:r>
              <a:rPr lang="en-US" sz="2000" dirty="0" err="1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ur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ce – access to skilled and unskilled </a:t>
            </a:r>
            <a:r>
              <a:rPr lang="en-US" sz="2000" dirty="0" err="1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ur</a:t>
            </a:r>
            <a:endParaRPr lang="en-US" sz="20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20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d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al infrastructure: well developed airports, sea ports, road networks. Efforts to upgrade rail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20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ility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fund sources - large number of developing financial institutions such as banks, insurance, venture capital companies, stock exchange </a:t>
            </a:r>
            <a:endParaRPr lang="en-US" sz="20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20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err="1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CTA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US" sz="2000" dirty="0" err="1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CTA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secretariat in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ra</a:t>
            </a:r>
            <a:endParaRPr lang="en-US" sz="20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2901951"/>
            <a:ext cx="3370836" cy="2243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764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y Requirements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November</a:t>
            </a:r>
            <a:r>
              <a:rPr lang="en-US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/>
              <a:t>25, </a:t>
            </a:r>
            <a:r>
              <a:rPr lang="en-US" dirty="0"/>
              <a:t>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5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5C0CA8E-DF20-4A29-A71E-F321E9C89686}"/>
              </a:ext>
            </a:extLst>
          </p:cNvPr>
          <p:cNvSpPr txBox="1"/>
          <p:nvPr/>
        </p:nvSpPr>
        <p:spPr>
          <a:xfrm>
            <a:off x="3929902" y="1690689"/>
            <a:ext cx="4585448" cy="46858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tion/registration with the Companies Registry- setting up of a private limited liability company or registering as an external </a:t>
            </a: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ation 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the Ghana Investment Promotion Centre (GIPC) – a legal requirement for all entities in Ghana with foreign ownership. Minimum capital requirements 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ng Permits, </a:t>
            </a: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 </a:t>
            </a: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ities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security – National Pensions Regulatory Authority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105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47" y="2870947"/>
            <a:ext cx="3530055" cy="198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366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y Requirements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November</a:t>
            </a:r>
            <a:r>
              <a:rPr lang="en-US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/>
              <a:t>25, </a:t>
            </a:r>
            <a:r>
              <a:rPr lang="en-US" dirty="0"/>
              <a:t>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6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5C0CA8E-DF20-4A29-A71E-F321E9C89686}"/>
              </a:ext>
            </a:extLst>
          </p:cNvPr>
          <p:cNvSpPr txBox="1"/>
          <p:nvPr/>
        </p:nvSpPr>
        <p:spPr>
          <a:xfrm>
            <a:off x="3993776" y="1831989"/>
            <a:ext cx="4521574" cy="45935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105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A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mits from the Environmental Protection Agency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manufacturing and activities with environmental impact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105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105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ation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relevant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regulator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ending on the sector (such as Energy Commission, FDA, NCA etc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  <a:p>
            <a:pPr algn="just"/>
            <a:endParaRPr lang="en-US" sz="105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105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stration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the Data Protection Commission – for collection and processing of personal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endParaRPr lang="en-US" sz="20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47" y="2870947"/>
            <a:ext cx="3530055" cy="198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7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ments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rporation/ Registration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November</a:t>
            </a:r>
            <a:r>
              <a:rPr lang="en-US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/>
              <a:t>25, </a:t>
            </a:r>
            <a:r>
              <a:rPr lang="en-US" dirty="0"/>
              <a:t>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7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5C0CA8E-DF20-4A29-A71E-F321E9C89686}"/>
              </a:ext>
            </a:extLst>
          </p:cNvPr>
          <p:cNvSpPr txBox="1"/>
          <p:nvPr/>
        </p:nvSpPr>
        <p:spPr>
          <a:xfrm>
            <a:off x="3617259" y="1643730"/>
            <a:ext cx="5109882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: Conduct name search  to ascertain availability. Name can be reserved at a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e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20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s: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st two directors with one director being ordinarily resident in Ghana. Directors may be foreigners.  Corporate directors are not permitted </a:t>
            </a:r>
            <a:endParaRPr lang="en-US" sz="20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sz="20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 Secretary: Must be a qualified professional under Ghanaian 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w</a:t>
            </a:r>
          </a:p>
          <a:p>
            <a:pPr algn="just"/>
            <a:endParaRPr lang="en-US" sz="20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reholders: M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y </a:t>
            </a:r>
            <a:r>
              <a:rPr lang="en-US" sz="20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 corporate or individuals. Shares are of no par value</a:t>
            </a:r>
            <a:r>
              <a:rPr lang="en-US" sz="20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20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2721451"/>
            <a:ext cx="3106660" cy="1863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062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ments for Incorporation/ Registration</a:t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November</a:t>
            </a:r>
            <a:r>
              <a:rPr lang="en-US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/>
              <a:t>25, </a:t>
            </a:r>
            <a:r>
              <a:rPr lang="en-US" dirty="0"/>
              <a:t>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8</a:t>
            </a:fld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5C0CA8E-DF20-4A29-A71E-F321E9C89686}"/>
              </a:ext>
            </a:extLst>
          </p:cNvPr>
          <p:cNvSpPr txBox="1"/>
          <p:nvPr/>
        </p:nvSpPr>
        <p:spPr>
          <a:xfrm>
            <a:off x="2568388" y="1643730"/>
            <a:ext cx="6158753" cy="4555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tors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t 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 chartered accountants </a:t>
            </a:r>
            <a:r>
              <a:rPr lang="en-US" dirty="0" err="1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gnised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hana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um capital requirements for foreign companies (can be met in cash or goods relevant to the business</a:t>
            </a: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en-US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int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ture with Ghanaian - 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um of 10% 	Ghanaian 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equity participation. Minimum of $200,000 contribution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foreign partner</a:t>
            </a:r>
          </a:p>
          <a:p>
            <a:pPr lvl="1" algn="just"/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lly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d by 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Ghanaian -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,000</a:t>
            </a:r>
          </a:p>
          <a:p>
            <a:pPr lvl="1" algn="just"/>
            <a:endParaRPr lang="en-US" sz="1600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buFont typeface="Wingdings" panose="05000000000000000000" pitchFamily="2" charset="2"/>
              <a:buChar char="§"/>
              <a:tabLst>
                <a:tab pos="739775" algn="l"/>
              </a:tabLst>
            </a:pP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ailing/trading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y -$1,000,000 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lly or jointly 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owned </a:t>
            </a:r>
            <a:r>
              <a:rPr lang="en-US" sz="16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ign company</a:t>
            </a:r>
            <a:r>
              <a:rPr lang="en-US" sz="16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algn="just"/>
            <a:endParaRPr lang="en-US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 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export trading companies are exempt from the minimum capital </a:t>
            </a: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ment</a:t>
            </a:r>
            <a:endParaRPr lang="en-US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54" y="3367100"/>
            <a:ext cx="2103734" cy="1262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599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centives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November</a:t>
            </a:r>
            <a:r>
              <a:rPr lang="en-US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/>
              <a:t>25, </a:t>
            </a:r>
            <a:r>
              <a:rPr lang="en-US" dirty="0"/>
              <a:t>2020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2020 AB &amp; David – all rights reserve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1EF70-4E10-4796-BA0F-80FD5786136A}" type="slidenum">
              <a:rPr lang="en-GB" smtClean="0"/>
              <a:t>9</a:t>
            </a:fld>
            <a:endParaRPr lang="en-GB" dirty="0"/>
          </a:p>
        </p:txBody>
      </p:sp>
      <p:sp>
        <p:nvSpPr>
          <p:cNvPr id="8" name="Content Placeholder 3"/>
          <p:cNvSpPr txBox="1">
            <a:spLocks/>
          </p:cNvSpPr>
          <p:nvPr/>
        </p:nvSpPr>
        <p:spPr>
          <a:xfrm>
            <a:off x="5123328" y="1798730"/>
            <a:ext cx="3805519" cy="440036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incentives</a:t>
            </a:r>
            <a:endParaRPr lang="en-US" sz="2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45720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arantee against expropriation and </a:t>
            </a:r>
            <a:r>
              <a:rPr lang="en-US" sz="1800" dirty="0" err="1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isation</a:t>
            </a:r>
            <a:endParaRPr lang="en-US" sz="18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defTabSz="45720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arantee against discrimination</a:t>
            </a:r>
          </a:p>
          <a:p>
            <a:pPr marL="342900" indent="-342900" defTabSz="45720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transferability of capital, profits and dividends </a:t>
            </a:r>
          </a:p>
          <a:p>
            <a:pPr marL="342900" indent="-342900" defTabSz="457200">
              <a:buFont typeface="Wingdings" panose="05000000000000000000" pitchFamily="2" charset="2"/>
              <a:buChar char="ü"/>
            </a:pPr>
            <a:r>
              <a:rPr lang="en-US" sz="18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atory to MIGA Convention </a:t>
            </a:r>
          </a:p>
          <a:p>
            <a:pPr marL="342900" indent="-342900" defTabSz="457200">
              <a:buFont typeface="Wingdings" panose="05000000000000000000" pitchFamily="2" charset="2"/>
              <a:buChar char="ü"/>
            </a:pPr>
            <a:r>
              <a:rPr lang="en-US" sz="18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ateral Investment Treaties </a:t>
            </a:r>
          </a:p>
          <a:p>
            <a:pPr marL="342900" indent="-342900" defTabSz="457200">
              <a:buFont typeface="Wingdings" panose="05000000000000000000" pitchFamily="2" charset="2"/>
              <a:buChar char="ü"/>
            </a:pPr>
            <a:r>
              <a:rPr lang="en-US" sz="18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 Taxation Agreements (DTAs)</a:t>
            </a:r>
          </a:p>
          <a:p>
            <a:pPr marL="342900" indent="-342900" defTabSz="457200">
              <a:buFont typeface="Wingdings" panose="05000000000000000000" pitchFamily="2" charset="2"/>
              <a:buChar char="ü"/>
            </a:pPr>
            <a:r>
              <a:rPr lang="en-US" sz="18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triate </a:t>
            </a:r>
            <a:r>
              <a:rPr lang="en-US" sz="18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ta support </a:t>
            </a:r>
            <a:r>
              <a:rPr lang="en-US" sz="18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GIPC &amp; Ghana </a:t>
            </a:r>
            <a:r>
              <a:rPr lang="en-US" sz="1800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migration </a:t>
            </a:r>
            <a:r>
              <a:rPr lang="en-US" sz="1800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)</a:t>
            </a:r>
            <a:endParaRPr lang="en-US" sz="1800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8650" y="1699762"/>
            <a:ext cx="4224057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000" b="1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ation </a:t>
            </a:r>
            <a:endParaRPr lang="en-US" sz="2000" b="1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n-US" sz="800" b="1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d rates for manufacturing 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es located in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</a:t>
            </a: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itals an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regional capitals – 12.5%</a:t>
            </a:r>
          </a:p>
          <a:p>
            <a:endParaRPr lang="en-US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tion from customs import duty for industrial plant, machinery or equipment </a:t>
            </a:r>
            <a:endParaRPr lang="en-US" dirty="0" smtClean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en-US" dirty="0">
              <a:solidFill>
                <a:srgbClr val="022F8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 zone enterprises - 10 years tax holiday and </a:t>
            </a:r>
            <a:r>
              <a:rPr lang="en-US" dirty="0" smtClean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% </a:t>
            </a:r>
            <a:r>
              <a:rPr lang="en-US" dirty="0">
                <a:solidFill>
                  <a:srgbClr val="022F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wards; no import licensing requirements; minimal customs requirements </a:t>
            </a:r>
          </a:p>
        </p:txBody>
      </p:sp>
    </p:spTree>
    <p:extLst>
      <p:ext uri="{BB962C8B-B14F-4D97-AF65-F5344CB8AC3E}">
        <p14:creationId xmlns:p14="http://schemas.microsoft.com/office/powerpoint/2010/main" val="418685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4162&quot;&gt;&lt;version val=&quot;2699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53899999999999992362E+00&quot;&gt;&lt;m_msothmcolidx val=&quot;0&quot;/&gt;&lt;m_rgb r=&quot;E2&quot; g=&quot;B0&quot; b=&quot;05&quot;/&gt;&lt;m_nBrightness tagver0=&quot;26206&quot; tagname0=&quot;m_nBrightnessUNRECOGNIZED&quot; val=&quot;0&quot;/&gt;&lt;/elem&gt;&lt;elem m_fUsage=&quot;1.00000000000000000000E+00&quot;&gt;&lt;m_msothmcolidx val=&quot;0&quot;/&gt;&lt;m_rgb r=&quot;FF&quot; g=&quot;F2&quot; b=&quot;CC&quot;/&gt;&lt;m_nBrightness tagver0=&quot;26206&quot; tagname0=&quot;m_nBrightnessUNRECOGNIZED&quot; val=&quot;0&quot;/&gt;&lt;/elem&gt;&lt;elem m_fUsage=&quot;9.00000000000000022204E-01&quot;&gt;&lt;m_msothmcolidx val=&quot;0&quot;/&gt;&lt;m_rgb r=&quot;C2&quot; g=&quot;CB&quot; b=&quot;D8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xQavI3TseU_z3h2T28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9yUGyTT62VLAeBg99T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4IfVK3S6mUnqzpT2wN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xQavI3TseU_z3h2T28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9yUGyTT62VLAeBg99T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NXj0HNTpKXutrH_HJr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4IfVK3S6mUnqzpT2wN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4IfVK3S6mUnqzpT2wN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xQavI3TseU_z3h2T28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9yUGyTT62VLAeBg99T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xQavI3TseU_z3h2T28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NXj0HNTpKXutrH_HJr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4IfVK3S6mUnqzpT2wN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NXj0HNTpKXutrH_HJr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9yUGyTT62VLAeBg99TW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4IfVK3S6mUnqzpT2wNyg"/>
</p:tagLst>
</file>

<file path=ppt/theme/theme1.xml><?xml version="1.0" encoding="utf-8"?>
<a:theme xmlns:a="http://schemas.openxmlformats.org/drawingml/2006/main" name="AB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0FA0"/>
      </a:accent1>
      <a:accent2>
        <a:srgbClr val="860021"/>
      </a:accent2>
      <a:accent3>
        <a:srgbClr val="A5A5A5"/>
      </a:accent3>
      <a:accent4>
        <a:srgbClr val="691B1C"/>
      </a:accent4>
      <a:accent5>
        <a:srgbClr val="2E2A5B"/>
      </a:accent5>
      <a:accent6>
        <a:srgbClr val="2E2C5A"/>
      </a:accent6>
      <a:hlink>
        <a:srgbClr val="641B1C"/>
      </a:hlink>
      <a:folHlink>
        <a:srgbClr val="954F72"/>
      </a:folHlink>
    </a:clrScheme>
    <a:fontScheme name="Custom 1">
      <a:majorFont>
        <a:latin typeface="Palatino"/>
        <a:ea typeface=""/>
        <a:cs typeface=""/>
      </a:majorFont>
      <a:minorFont>
        <a:latin typeface="Palatino Linotyp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B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AB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AB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935</TotalTime>
  <Words>715</Words>
  <Application>Microsoft Office PowerPoint</Application>
  <PresentationFormat>On-screen Show (4:3)</PresentationFormat>
  <Paragraphs>122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6" baseType="lpstr">
      <vt:lpstr>Aparajita</vt:lpstr>
      <vt:lpstr>Arial</vt:lpstr>
      <vt:lpstr>Calibri</vt:lpstr>
      <vt:lpstr>Calibri Light</vt:lpstr>
      <vt:lpstr>Palatino</vt:lpstr>
      <vt:lpstr>Palatino Linotype</vt:lpstr>
      <vt:lpstr>Tahoma</vt:lpstr>
      <vt:lpstr>Verdana</vt:lpstr>
      <vt:lpstr>Wingdings</vt:lpstr>
      <vt:lpstr>AB</vt:lpstr>
      <vt:lpstr>1_AB</vt:lpstr>
      <vt:lpstr>2_AB</vt:lpstr>
      <vt:lpstr>3_AB</vt:lpstr>
      <vt:lpstr>think-cell Slide</vt:lpstr>
      <vt:lpstr>PowerPoint Presentation</vt:lpstr>
      <vt:lpstr>Content</vt:lpstr>
      <vt:lpstr> Attraction and Competitiveness </vt:lpstr>
      <vt:lpstr> Attraction and Competitiveness Cont’d </vt:lpstr>
      <vt:lpstr> Market Entry Requirements </vt:lpstr>
      <vt:lpstr> Market Entry Requirements </vt:lpstr>
      <vt:lpstr>  Requirements for Incorporation/ Registration </vt:lpstr>
      <vt:lpstr>  Requirements for Incorporation/ Registration </vt:lpstr>
      <vt:lpstr>  Investment Incentives  </vt:lpstr>
      <vt:lpstr>  African Continental Free Trade Agreement </vt:lpstr>
      <vt:lpstr>  Questions 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ricia Addy</dc:creator>
  <cp:lastModifiedBy>AB&amp;David</cp:lastModifiedBy>
  <cp:revision>60</cp:revision>
  <cp:lastPrinted>2020-11-19T10:32:41Z</cp:lastPrinted>
  <dcterms:created xsi:type="dcterms:W3CDTF">2020-11-18T08:37:21Z</dcterms:created>
  <dcterms:modified xsi:type="dcterms:W3CDTF">2020-11-25T17:26:13Z</dcterms:modified>
</cp:coreProperties>
</file>